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notesSlides/notesSlide11.xml" ContentType="application/vnd.openxmlformats-officedocument.presentationml.notesSlide+xml"/>
  <Default Extension="gif" ContentType="image/gi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</p:sldMasterIdLst>
  <p:notesMasterIdLst>
    <p:notesMasterId r:id="rId34"/>
  </p:notesMasterIdLst>
  <p:sldIdLst>
    <p:sldId id="315" r:id="rId3"/>
    <p:sldId id="257" r:id="rId4"/>
    <p:sldId id="258" r:id="rId5"/>
    <p:sldId id="266" r:id="rId6"/>
    <p:sldId id="267" r:id="rId7"/>
    <p:sldId id="268" r:id="rId8"/>
    <p:sldId id="271" r:id="rId9"/>
    <p:sldId id="330" r:id="rId10"/>
    <p:sldId id="331" r:id="rId11"/>
    <p:sldId id="285" r:id="rId12"/>
    <p:sldId id="287" r:id="rId13"/>
    <p:sldId id="339" r:id="rId14"/>
    <p:sldId id="340" r:id="rId15"/>
    <p:sldId id="326" r:id="rId16"/>
    <p:sldId id="325" r:id="rId17"/>
    <p:sldId id="317" r:id="rId18"/>
    <p:sldId id="296" r:id="rId19"/>
    <p:sldId id="297" r:id="rId20"/>
    <p:sldId id="298" r:id="rId21"/>
    <p:sldId id="299" r:id="rId22"/>
    <p:sldId id="300" r:id="rId23"/>
    <p:sldId id="334" r:id="rId24"/>
    <p:sldId id="332" r:id="rId25"/>
    <p:sldId id="318" r:id="rId26"/>
    <p:sldId id="323" r:id="rId27"/>
    <p:sldId id="335" r:id="rId28"/>
    <p:sldId id="336" r:id="rId29"/>
    <p:sldId id="338" r:id="rId30"/>
    <p:sldId id="328" r:id="rId31"/>
    <p:sldId id="329" r:id="rId32"/>
    <p:sldId id="314" r:id="rId33"/>
  </p:sldIdLst>
  <p:sldSz cx="9144000" cy="6858000" type="screen4x3"/>
  <p:notesSz cx="6858000" cy="9144000"/>
  <p:defaultTextStyle>
    <a:defPPr>
      <a:defRPr lang="es-ES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00664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117" d="100"/>
          <a:sy n="117" d="100"/>
        </p:scale>
        <p:origin x="-2196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EEADF7-2629-4D63-9D59-85BC42860E35}" type="doc">
      <dgm:prSet loTypeId="urn:microsoft.com/office/officeart/2005/8/layout/hProcess9" loCatId="process" qsTypeId="urn:microsoft.com/office/officeart/2005/8/quickstyle/simple3" qsCatId="simple" csTypeId="urn:microsoft.com/office/officeart/2005/8/colors/accent2_5" csCatId="accent2" phldr="1"/>
      <dgm:spPr/>
    </dgm:pt>
    <dgm:pt modelId="{C13AFA8D-E599-4BF3-AAF5-41F49929E1A3}">
      <dgm:prSet phldrT="[Text]" custT="1"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Identificación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de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necesidades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/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retos</a:t>
          </a:r>
          <a:endParaRPr lang="ca-ES" sz="1100" dirty="0">
            <a:solidFill>
              <a:srgbClr val="003366"/>
            </a:solidFill>
            <a:latin typeface="Calibri" pitchFamily="34" charset="0"/>
          </a:endParaRPr>
        </a:p>
      </dgm:t>
    </dgm:pt>
    <dgm:pt modelId="{040F0491-7F18-4C16-A6B6-2CEA73DBE6F1}" type="parTrans" cxnId="{E590950A-6EB4-400B-984B-1341661C2EA6}">
      <dgm:prSet/>
      <dgm:spPr/>
      <dgm:t>
        <a:bodyPr/>
        <a:lstStyle/>
        <a:p>
          <a:endParaRPr lang="ca-ES"/>
        </a:p>
      </dgm:t>
    </dgm:pt>
    <dgm:pt modelId="{0E557EDE-27E2-48A3-9758-6875300F1084}" type="sibTrans" cxnId="{E590950A-6EB4-400B-984B-1341661C2EA6}">
      <dgm:prSet/>
      <dgm:spPr/>
      <dgm:t>
        <a:bodyPr/>
        <a:lstStyle/>
        <a:p>
          <a:endParaRPr lang="ca-ES"/>
        </a:p>
      </dgm:t>
    </dgm:pt>
    <dgm:pt modelId="{F9257870-8AD8-4915-8CB6-4BB77DDEC493}">
      <dgm:prSet phldrT="[Text]" custT="1"/>
      <dgm:spPr>
        <a:solidFill>
          <a:schemeClr val="accent3"/>
        </a:solidFill>
      </dgm:spPr>
      <dgm:t>
        <a:bodyPr/>
        <a:lstStyle/>
        <a:p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Traducción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en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especificaciones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funcionales</a:t>
          </a:r>
          <a:endParaRPr lang="ca-ES" sz="1100" dirty="0">
            <a:solidFill>
              <a:srgbClr val="003366"/>
            </a:solidFill>
            <a:latin typeface="Calibri" pitchFamily="34" charset="0"/>
          </a:endParaRPr>
        </a:p>
      </dgm:t>
    </dgm:pt>
    <dgm:pt modelId="{EC75932F-550F-420F-850E-8CC76A8776DE}" type="parTrans" cxnId="{9A78C351-183F-461C-9610-392E21669F0A}">
      <dgm:prSet/>
      <dgm:spPr/>
      <dgm:t>
        <a:bodyPr/>
        <a:lstStyle/>
        <a:p>
          <a:endParaRPr lang="ca-ES"/>
        </a:p>
      </dgm:t>
    </dgm:pt>
    <dgm:pt modelId="{44121D70-F128-4BE6-93AD-9E0EFA779DCA}" type="sibTrans" cxnId="{9A78C351-183F-461C-9610-392E21669F0A}">
      <dgm:prSet/>
      <dgm:spPr/>
      <dgm:t>
        <a:bodyPr/>
        <a:lstStyle/>
        <a:p>
          <a:endParaRPr lang="ca-ES"/>
        </a:p>
      </dgm:t>
    </dgm:pt>
    <dgm:pt modelId="{502E4E8B-D32F-4043-841D-50895DEAA929}">
      <dgm:prSet phldrT="[Text]"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Proces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de oferta  (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especificaciones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tècnicas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,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diàllog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...)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B751F2CC-182C-44BE-BD32-94CFF216A1DA}" type="parTrans" cxnId="{8B139BFA-8C5D-454F-BE6D-BFAF20C62784}">
      <dgm:prSet/>
      <dgm:spPr/>
      <dgm:t>
        <a:bodyPr/>
        <a:lstStyle/>
        <a:p>
          <a:endParaRPr lang="ca-ES"/>
        </a:p>
      </dgm:t>
    </dgm:pt>
    <dgm:pt modelId="{1733D405-05CC-4273-BDD2-66DBD19F3642}" type="sibTrans" cxnId="{8B139BFA-8C5D-454F-BE6D-BFAF20C62784}">
      <dgm:prSet/>
      <dgm:spPr/>
      <dgm:t>
        <a:bodyPr/>
        <a:lstStyle/>
        <a:p>
          <a:endParaRPr lang="ca-ES"/>
        </a:p>
      </dgm:t>
    </dgm:pt>
    <dgm:pt modelId="{5724D07D-CD86-4862-B89D-99C7A201AC09}">
      <dgm:prSet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Evaluación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de las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ofertas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5CFCFEA8-E8F1-47FE-98CC-B7406FBCAB32}" type="parTrans" cxnId="{7DAEC233-0E6B-4A17-8E41-FFA625C49012}">
      <dgm:prSet/>
      <dgm:spPr/>
      <dgm:t>
        <a:bodyPr/>
        <a:lstStyle/>
        <a:p>
          <a:endParaRPr lang="ca-ES"/>
        </a:p>
      </dgm:t>
    </dgm:pt>
    <dgm:pt modelId="{BFE7219C-9DD6-4E87-912B-8D5FFE596E60}" type="sibTrans" cxnId="{7DAEC233-0E6B-4A17-8E41-FFA625C49012}">
      <dgm:prSet/>
      <dgm:spPr/>
      <dgm:t>
        <a:bodyPr/>
        <a:lstStyle/>
        <a:p>
          <a:endParaRPr lang="ca-ES"/>
        </a:p>
      </dgm:t>
    </dgm:pt>
    <dgm:pt modelId="{BF6F97AE-E90E-4CD9-B758-2C420122B80F}">
      <dgm:prSet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Gestión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 de los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contratos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5C3FA5A3-C921-4BBE-B28D-E7A5B7240BF7}" type="parTrans" cxnId="{50AA6D60-280B-4DBD-A843-876CBA2FA1B1}">
      <dgm:prSet/>
      <dgm:spPr/>
      <dgm:t>
        <a:bodyPr/>
        <a:lstStyle/>
        <a:p>
          <a:endParaRPr lang="ca-ES"/>
        </a:p>
      </dgm:t>
    </dgm:pt>
    <dgm:pt modelId="{9208CADF-F429-4E83-908A-CE4F1318E358}" type="sibTrans" cxnId="{50AA6D60-280B-4DBD-A843-876CBA2FA1B1}">
      <dgm:prSet/>
      <dgm:spPr/>
      <dgm:t>
        <a:bodyPr/>
        <a:lstStyle/>
        <a:p>
          <a:endParaRPr lang="ca-ES"/>
        </a:p>
      </dgm:t>
    </dgm:pt>
    <dgm:pt modelId="{833FEE91-C049-4EF1-9225-A0AA71351F90}">
      <dgm:prSet/>
      <dgm:spPr>
        <a:solidFill>
          <a:schemeClr val="accent3"/>
        </a:solidFill>
        <a:ln w="12700"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Seguimient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e 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implantación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4A150645-F256-4B86-A952-849799FF41DD}" type="parTrans" cxnId="{0382106D-6A9E-4F89-A87A-7BE1FCCE67A9}">
      <dgm:prSet/>
      <dgm:spPr/>
      <dgm:t>
        <a:bodyPr/>
        <a:lstStyle/>
        <a:p>
          <a:endParaRPr lang="ca-ES"/>
        </a:p>
      </dgm:t>
    </dgm:pt>
    <dgm:pt modelId="{C1C32F5A-B7C6-4441-9769-16FAA2896BD9}" type="sibTrans" cxnId="{0382106D-6A9E-4F89-A87A-7BE1FCCE67A9}">
      <dgm:prSet/>
      <dgm:spPr/>
      <dgm:t>
        <a:bodyPr/>
        <a:lstStyle/>
        <a:p>
          <a:endParaRPr lang="ca-ES"/>
        </a:p>
      </dgm:t>
    </dgm:pt>
    <dgm:pt modelId="{582FE691-55BE-4B7B-8A0D-5FCB5EE8115C}" type="pres">
      <dgm:prSet presAssocID="{2FEEADF7-2629-4D63-9D59-85BC42860E35}" presName="CompostProcess" presStyleCnt="0">
        <dgm:presLayoutVars>
          <dgm:dir/>
          <dgm:resizeHandles val="exact"/>
        </dgm:presLayoutVars>
      </dgm:prSet>
      <dgm:spPr/>
    </dgm:pt>
    <dgm:pt modelId="{D40EDAB9-DA57-440C-A0A0-4411F4658726}" type="pres">
      <dgm:prSet presAssocID="{2FEEADF7-2629-4D63-9D59-85BC42860E35}" presName="arrow" presStyleLbl="bgShp" presStyleIdx="0" presStyleCnt="1" custLinFactNeighborX="35" custLinFactNeighborY="-1384"/>
      <dgm:spPr>
        <a:solidFill>
          <a:srgbClr val="003366"/>
        </a:solidFill>
      </dgm:spPr>
    </dgm:pt>
    <dgm:pt modelId="{E1D15C2D-C9F2-494F-969A-2CD40222392E}" type="pres">
      <dgm:prSet presAssocID="{2FEEADF7-2629-4D63-9D59-85BC42860E35}" presName="linearProcess" presStyleCnt="0"/>
      <dgm:spPr/>
    </dgm:pt>
    <dgm:pt modelId="{5E7BA69F-8E59-457B-86D7-8ABFC7E25E1F}" type="pres">
      <dgm:prSet presAssocID="{C13AFA8D-E599-4BF3-AAF5-41F49929E1A3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E2F14E03-A687-48B5-B092-4D5A9BE7DA2E}" type="pres">
      <dgm:prSet presAssocID="{0E557EDE-27E2-48A3-9758-6875300F1084}" presName="sibTrans" presStyleCnt="0"/>
      <dgm:spPr/>
    </dgm:pt>
    <dgm:pt modelId="{525158EC-E6A1-4279-8416-FE6157369EBA}" type="pres">
      <dgm:prSet presAssocID="{F9257870-8AD8-4915-8CB6-4BB77DDEC493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42C1B9F1-D6F0-4872-A70E-F1EFA6E320D7}" type="pres">
      <dgm:prSet presAssocID="{44121D70-F128-4BE6-93AD-9E0EFA779DCA}" presName="sibTrans" presStyleCnt="0"/>
      <dgm:spPr/>
    </dgm:pt>
    <dgm:pt modelId="{15EE54D9-C34B-465E-AADE-807561CE7058}" type="pres">
      <dgm:prSet presAssocID="{502E4E8B-D32F-4043-841D-50895DEAA929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D7BB904F-400A-42CF-9F17-EF8FD71E3EE1}" type="pres">
      <dgm:prSet presAssocID="{1733D405-05CC-4273-BDD2-66DBD19F3642}" presName="sibTrans" presStyleCnt="0"/>
      <dgm:spPr/>
    </dgm:pt>
    <dgm:pt modelId="{CF63220B-F27B-42FD-AE57-3CEC668DFA43}" type="pres">
      <dgm:prSet presAssocID="{5724D07D-CD86-4862-B89D-99C7A201AC09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34CF8999-8D0B-4844-91E7-C2657D7FC262}" type="pres">
      <dgm:prSet presAssocID="{BFE7219C-9DD6-4E87-912B-8D5FFE596E60}" presName="sibTrans" presStyleCnt="0"/>
      <dgm:spPr/>
    </dgm:pt>
    <dgm:pt modelId="{F34434EF-EDAE-4252-AEA7-CBB8AE8CAD25}" type="pres">
      <dgm:prSet presAssocID="{BF6F97AE-E90E-4CD9-B758-2C420122B80F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9793B45A-A590-4AEA-8D6A-E2B2F6616CBC}" type="pres">
      <dgm:prSet presAssocID="{9208CADF-F429-4E83-908A-CE4F1318E358}" presName="sibTrans" presStyleCnt="0"/>
      <dgm:spPr/>
    </dgm:pt>
    <dgm:pt modelId="{AE01B1FA-1B56-4387-8FA4-B5F6300609E1}" type="pres">
      <dgm:prSet presAssocID="{833FEE91-C049-4EF1-9225-A0AA71351F90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</dgm:ptLst>
  <dgm:cxnLst>
    <dgm:cxn modelId="{D2567002-3249-4EC3-B472-FFB0522C8477}" type="presOf" srcId="{502E4E8B-D32F-4043-841D-50895DEAA929}" destId="{15EE54D9-C34B-465E-AADE-807561CE7058}" srcOrd="0" destOrd="0" presId="urn:microsoft.com/office/officeart/2005/8/layout/hProcess9"/>
    <dgm:cxn modelId="{E590950A-6EB4-400B-984B-1341661C2EA6}" srcId="{2FEEADF7-2629-4D63-9D59-85BC42860E35}" destId="{C13AFA8D-E599-4BF3-AAF5-41F49929E1A3}" srcOrd="0" destOrd="0" parTransId="{040F0491-7F18-4C16-A6B6-2CEA73DBE6F1}" sibTransId="{0E557EDE-27E2-48A3-9758-6875300F1084}"/>
    <dgm:cxn modelId="{9A78C351-183F-461C-9610-392E21669F0A}" srcId="{2FEEADF7-2629-4D63-9D59-85BC42860E35}" destId="{F9257870-8AD8-4915-8CB6-4BB77DDEC493}" srcOrd="1" destOrd="0" parTransId="{EC75932F-550F-420F-850E-8CC76A8776DE}" sibTransId="{44121D70-F128-4BE6-93AD-9E0EFA779DCA}"/>
    <dgm:cxn modelId="{88514501-193D-4BCB-8472-E7FA683BC3CF}" type="presOf" srcId="{F9257870-8AD8-4915-8CB6-4BB77DDEC493}" destId="{525158EC-E6A1-4279-8416-FE6157369EBA}" srcOrd="0" destOrd="0" presId="urn:microsoft.com/office/officeart/2005/8/layout/hProcess9"/>
    <dgm:cxn modelId="{8B139BFA-8C5D-454F-BE6D-BFAF20C62784}" srcId="{2FEEADF7-2629-4D63-9D59-85BC42860E35}" destId="{502E4E8B-D32F-4043-841D-50895DEAA929}" srcOrd="2" destOrd="0" parTransId="{B751F2CC-182C-44BE-BD32-94CFF216A1DA}" sibTransId="{1733D405-05CC-4273-BDD2-66DBD19F3642}"/>
    <dgm:cxn modelId="{1D59B5A5-2696-42EF-8E58-AE1496FD4D10}" type="presOf" srcId="{5724D07D-CD86-4862-B89D-99C7A201AC09}" destId="{CF63220B-F27B-42FD-AE57-3CEC668DFA43}" srcOrd="0" destOrd="0" presId="urn:microsoft.com/office/officeart/2005/8/layout/hProcess9"/>
    <dgm:cxn modelId="{E5EEF2C5-2373-45BC-8C54-5D19B4FCD9AA}" type="presOf" srcId="{833FEE91-C049-4EF1-9225-A0AA71351F90}" destId="{AE01B1FA-1B56-4387-8FA4-B5F6300609E1}" srcOrd="0" destOrd="0" presId="urn:microsoft.com/office/officeart/2005/8/layout/hProcess9"/>
    <dgm:cxn modelId="{6083C478-4C2E-4A8A-A0A9-1FCDCE56EA2B}" type="presOf" srcId="{C13AFA8D-E599-4BF3-AAF5-41F49929E1A3}" destId="{5E7BA69F-8E59-457B-86D7-8ABFC7E25E1F}" srcOrd="0" destOrd="0" presId="urn:microsoft.com/office/officeart/2005/8/layout/hProcess9"/>
    <dgm:cxn modelId="{7DAEC233-0E6B-4A17-8E41-FFA625C49012}" srcId="{2FEEADF7-2629-4D63-9D59-85BC42860E35}" destId="{5724D07D-CD86-4862-B89D-99C7A201AC09}" srcOrd="3" destOrd="0" parTransId="{5CFCFEA8-E8F1-47FE-98CC-B7406FBCAB32}" sibTransId="{BFE7219C-9DD6-4E87-912B-8D5FFE596E60}"/>
    <dgm:cxn modelId="{50AA6D60-280B-4DBD-A843-876CBA2FA1B1}" srcId="{2FEEADF7-2629-4D63-9D59-85BC42860E35}" destId="{BF6F97AE-E90E-4CD9-B758-2C420122B80F}" srcOrd="4" destOrd="0" parTransId="{5C3FA5A3-C921-4BBE-B28D-E7A5B7240BF7}" sibTransId="{9208CADF-F429-4E83-908A-CE4F1318E358}"/>
    <dgm:cxn modelId="{0382106D-6A9E-4F89-A87A-7BE1FCCE67A9}" srcId="{2FEEADF7-2629-4D63-9D59-85BC42860E35}" destId="{833FEE91-C049-4EF1-9225-A0AA71351F90}" srcOrd="5" destOrd="0" parTransId="{4A150645-F256-4B86-A952-849799FF41DD}" sibTransId="{C1C32F5A-B7C6-4441-9769-16FAA2896BD9}"/>
    <dgm:cxn modelId="{CCF8BFEC-C016-4064-BB8D-E5706D03FF5B}" type="presOf" srcId="{BF6F97AE-E90E-4CD9-B758-2C420122B80F}" destId="{F34434EF-EDAE-4252-AEA7-CBB8AE8CAD25}" srcOrd="0" destOrd="0" presId="urn:microsoft.com/office/officeart/2005/8/layout/hProcess9"/>
    <dgm:cxn modelId="{03535117-B502-4ECE-8B41-C9FCACC30B4F}" type="presOf" srcId="{2FEEADF7-2629-4D63-9D59-85BC42860E35}" destId="{582FE691-55BE-4B7B-8A0D-5FCB5EE8115C}" srcOrd="0" destOrd="0" presId="urn:microsoft.com/office/officeart/2005/8/layout/hProcess9"/>
    <dgm:cxn modelId="{1C288C21-DE6D-47A5-AB10-D256561CADB0}" type="presParOf" srcId="{582FE691-55BE-4B7B-8A0D-5FCB5EE8115C}" destId="{D40EDAB9-DA57-440C-A0A0-4411F4658726}" srcOrd="0" destOrd="0" presId="urn:microsoft.com/office/officeart/2005/8/layout/hProcess9"/>
    <dgm:cxn modelId="{90B5058F-245E-4592-A86B-C4B9A8091CB4}" type="presParOf" srcId="{582FE691-55BE-4B7B-8A0D-5FCB5EE8115C}" destId="{E1D15C2D-C9F2-494F-969A-2CD40222392E}" srcOrd="1" destOrd="0" presId="urn:microsoft.com/office/officeart/2005/8/layout/hProcess9"/>
    <dgm:cxn modelId="{A0BE8050-356F-454F-B16B-2D55529F4E60}" type="presParOf" srcId="{E1D15C2D-C9F2-494F-969A-2CD40222392E}" destId="{5E7BA69F-8E59-457B-86D7-8ABFC7E25E1F}" srcOrd="0" destOrd="0" presId="urn:microsoft.com/office/officeart/2005/8/layout/hProcess9"/>
    <dgm:cxn modelId="{0AD3D1BA-2295-40D5-B18F-6B23C8D2FB46}" type="presParOf" srcId="{E1D15C2D-C9F2-494F-969A-2CD40222392E}" destId="{E2F14E03-A687-48B5-B092-4D5A9BE7DA2E}" srcOrd="1" destOrd="0" presId="urn:microsoft.com/office/officeart/2005/8/layout/hProcess9"/>
    <dgm:cxn modelId="{8008767C-1DEA-426E-93C2-B06201BFB640}" type="presParOf" srcId="{E1D15C2D-C9F2-494F-969A-2CD40222392E}" destId="{525158EC-E6A1-4279-8416-FE6157369EBA}" srcOrd="2" destOrd="0" presId="urn:microsoft.com/office/officeart/2005/8/layout/hProcess9"/>
    <dgm:cxn modelId="{7A608F71-BB38-4D19-A059-435BB3CC5727}" type="presParOf" srcId="{E1D15C2D-C9F2-494F-969A-2CD40222392E}" destId="{42C1B9F1-D6F0-4872-A70E-F1EFA6E320D7}" srcOrd="3" destOrd="0" presId="urn:microsoft.com/office/officeart/2005/8/layout/hProcess9"/>
    <dgm:cxn modelId="{D9E2D02A-8375-4DD5-9CDD-0F61708B184C}" type="presParOf" srcId="{E1D15C2D-C9F2-494F-969A-2CD40222392E}" destId="{15EE54D9-C34B-465E-AADE-807561CE7058}" srcOrd="4" destOrd="0" presId="urn:microsoft.com/office/officeart/2005/8/layout/hProcess9"/>
    <dgm:cxn modelId="{784F3866-84E8-44EC-8543-BE5658D191A9}" type="presParOf" srcId="{E1D15C2D-C9F2-494F-969A-2CD40222392E}" destId="{D7BB904F-400A-42CF-9F17-EF8FD71E3EE1}" srcOrd="5" destOrd="0" presId="urn:microsoft.com/office/officeart/2005/8/layout/hProcess9"/>
    <dgm:cxn modelId="{D5B4454F-015C-4B69-B7DF-FD4DBBB3EFE2}" type="presParOf" srcId="{E1D15C2D-C9F2-494F-969A-2CD40222392E}" destId="{CF63220B-F27B-42FD-AE57-3CEC668DFA43}" srcOrd="6" destOrd="0" presId="urn:microsoft.com/office/officeart/2005/8/layout/hProcess9"/>
    <dgm:cxn modelId="{CEB53945-F8DE-4BE5-A86A-2E74D87B8BC8}" type="presParOf" srcId="{E1D15C2D-C9F2-494F-969A-2CD40222392E}" destId="{34CF8999-8D0B-4844-91E7-C2657D7FC262}" srcOrd="7" destOrd="0" presId="urn:microsoft.com/office/officeart/2005/8/layout/hProcess9"/>
    <dgm:cxn modelId="{668547F6-A7B1-4F2F-9CD2-C3A1AA5EADB5}" type="presParOf" srcId="{E1D15C2D-C9F2-494F-969A-2CD40222392E}" destId="{F34434EF-EDAE-4252-AEA7-CBB8AE8CAD25}" srcOrd="8" destOrd="0" presId="urn:microsoft.com/office/officeart/2005/8/layout/hProcess9"/>
    <dgm:cxn modelId="{1170D118-3988-49B2-9B58-613FB0F0C39F}" type="presParOf" srcId="{E1D15C2D-C9F2-494F-969A-2CD40222392E}" destId="{9793B45A-A590-4AEA-8D6A-E2B2F6616CBC}" srcOrd="9" destOrd="0" presId="urn:microsoft.com/office/officeart/2005/8/layout/hProcess9"/>
    <dgm:cxn modelId="{217704BA-CFE6-435B-928B-2C222433C28C}" type="presParOf" srcId="{E1D15C2D-C9F2-494F-969A-2CD40222392E}" destId="{AE01B1FA-1B56-4387-8FA4-B5F6300609E1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FEEADF7-2629-4D63-9D59-85BC42860E35}" type="doc">
      <dgm:prSet loTypeId="urn:microsoft.com/office/officeart/2005/8/layout/hProcess9" loCatId="process" qsTypeId="urn:microsoft.com/office/officeart/2005/8/quickstyle/simple3" qsCatId="simple" csTypeId="urn:microsoft.com/office/officeart/2005/8/colors/accent2_5" csCatId="accent2" phldr="1"/>
      <dgm:spPr/>
    </dgm:pt>
    <dgm:pt modelId="{C13AFA8D-E599-4BF3-AAF5-41F49929E1A3}">
      <dgm:prSet phldrT="[Text]" custT="1"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Identificación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de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necesidades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/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retos</a:t>
          </a:r>
          <a:endParaRPr lang="ca-ES" sz="1100" dirty="0">
            <a:solidFill>
              <a:srgbClr val="003366"/>
            </a:solidFill>
            <a:latin typeface="Calibri" pitchFamily="34" charset="0"/>
          </a:endParaRPr>
        </a:p>
      </dgm:t>
    </dgm:pt>
    <dgm:pt modelId="{040F0491-7F18-4C16-A6B6-2CEA73DBE6F1}" type="parTrans" cxnId="{E590950A-6EB4-400B-984B-1341661C2EA6}">
      <dgm:prSet/>
      <dgm:spPr/>
      <dgm:t>
        <a:bodyPr/>
        <a:lstStyle/>
        <a:p>
          <a:endParaRPr lang="ca-ES"/>
        </a:p>
      </dgm:t>
    </dgm:pt>
    <dgm:pt modelId="{0E557EDE-27E2-48A3-9758-6875300F1084}" type="sibTrans" cxnId="{E590950A-6EB4-400B-984B-1341661C2EA6}">
      <dgm:prSet/>
      <dgm:spPr/>
      <dgm:t>
        <a:bodyPr/>
        <a:lstStyle/>
        <a:p>
          <a:endParaRPr lang="ca-ES"/>
        </a:p>
      </dgm:t>
    </dgm:pt>
    <dgm:pt modelId="{F9257870-8AD8-4915-8CB6-4BB77DDEC493}">
      <dgm:prSet phldrT="[Text]" custT="1"/>
      <dgm:spPr>
        <a:solidFill>
          <a:schemeClr val="accent3"/>
        </a:solidFill>
      </dgm:spPr>
      <dgm:t>
        <a:bodyPr/>
        <a:lstStyle/>
        <a:p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Traducción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en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especificaciones</a:t>
          </a:r>
          <a:r>
            <a:rPr lang="ca-ES" sz="1100" dirty="0" smtClean="0">
              <a:solidFill>
                <a:srgbClr val="003366"/>
              </a:solidFill>
              <a:latin typeface="Calibri" pitchFamily="34" charset="0"/>
            </a:rPr>
            <a:t> </a:t>
          </a:r>
          <a:r>
            <a:rPr lang="ca-ES" sz="1100" dirty="0" err="1" smtClean="0">
              <a:solidFill>
                <a:srgbClr val="003366"/>
              </a:solidFill>
              <a:latin typeface="Calibri" pitchFamily="34" charset="0"/>
            </a:rPr>
            <a:t>funcionales</a:t>
          </a:r>
          <a:endParaRPr lang="ca-ES" sz="1100" dirty="0">
            <a:solidFill>
              <a:srgbClr val="003366"/>
            </a:solidFill>
            <a:latin typeface="Calibri" pitchFamily="34" charset="0"/>
          </a:endParaRPr>
        </a:p>
      </dgm:t>
    </dgm:pt>
    <dgm:pt modelId="{EC75932F-550F-420F-850E-8CC76A8776DE}" type="parTrans" cxnId="{9A78C351-183F-461C-9610-392E21669F0A}">
      <dgm:prSet/>
      <dgm:spPr/>
      <dgm:t>
        <a:bodyPr/>
        <a:lstStyle/>
        <a:p>
          <a:endParaRPr lang="ca-ES"/>
        </a:p>
      </dgm:t>
    </dgm:pt>
    <dgm:pt modelId="{44121D70-F128-4BE6-93AD-9E0EFA779DCA}" type="sibTrans" cxnId="{9A78C351-183F-461C-9610-392E21669F0A}">
      <dgm:prSet/>
      <dgm:spPr/>
      <dgm:t>
        <a:bodyPr/>
        <a:lstStyle/>
        <a:p>
          <a:endParaRPr lang="ca-ES"/>
        </a:p>
      </dgm:t>
    </dgm:pt>
    <dgm:pt modelId="{502E4E8B-D32F-4043-841D-50895DEAA929}">
      <dgm:prSet phldrT="[Text]"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Proces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de oferta  (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especificaciones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tècnicas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,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diàllog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...)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B751F2CC-182C-44BE-BD32-94CFF216A1DA}" type="parTrans" cxnId="{8B139BFA-8C5D-454F-BE6D-BFAF20C62784}">
      <dgm:prSet/>
      <dgm:spPr/>
      <dgm:t>
        <a:bodyPr/>
        <a:lstStyle/>
        <a:p>
          <a:endParaRPr lang="ca-ES"/>
        </a:p>
      </dgm:t>
    </dgm:pt>
    <dgm:pt modelId="{1733D405-05CC-4273-BDD2-66DBD19F3642}" type="sibTrans" cxnId="{8B139BFA-8C5D-454F-BE6D-BFAF20C62784}">
      <dgm:prSet/>
      <dgm:spPr/>
      <dgm:t>
        <a:bodyPr/>
        <a:lstStyle/>
        <a:p>
          <a:endParaRPr lang="ca-ES"/>
        </a:p>
      </dgm:t>
    </dgm:pt>
    <dgm:pt modelId="{5724D07D-CD86-4862-B89D-99C7A201AC09}">
      <dgm:prSet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Evaluación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de las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ofertas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5CFCFEA8-E8F1-47FE-98CC-B7406FBCAB32}" type="parTrans" cxnId="{7DAEC233-0E6B-4A17-8E41-FFA625C49012}">
      <dgm:prSet/>
      <dgm:spPr/>
      <dgm:t>
        <a:bodyPr/>
        <a:lstStyle/>
        <a:p>
          <a:endParaRPr lang="ca-ES"/>
        </a:p>
      </dgm:t>
    </dgm:pt>
    <dgm:pt modelId="{BFE7219C-9DD6-4E87-912B-8D5FFE596E60}" type="sibTrans" cxnId="{7DAEC233-0E6B-4A17-8E41-FFA625C49012}">
      <dgm:prSet/>
      <dgm:spPr/>
      <dgm:t>
        <a:bodyPr/>
        <a:lstStyle/>
        <a:p>
          <a:endParaRPr lang="ca-ES"/>
        </a:p>
      </dgm:t>
    </dgm:pt>
    <dgm:pt modelId="{BF6F97AE-E90E-4CD9-B758-2C420122B80F}">
      <dgm:prSet/>
      <dgm:spPr>
        <a:solidFill>
          <a:schemeClr val="accent3"/>
        </a:solidFill>
        <a:ln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Gestión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 de los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contratos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5C3FA5A3-C921-4BBE-B28D-E7A5B7240BF7}" type="parTrans" cxnId="{50AA6D60-280B-4DBD-A843-876CBA2FA1B1}">
      <dgm:prSet/>
      <dgm:spPr/>
      <dgm:t>
        <a:bodyPr/>
        <a:lstStyle/>
        <a:p>
          <a:endParaRPr lang="ca-ES"/>
        </a:p>
      </dgm:t>
    </dgm:pt>
    <dgm:pt modelId="{9208CADF-F429-4E83-908A-CE4F1318E358}" type="sibTrans" cxnId="{50AA6D60-280B-4DBD-A843-876CBA2FA1B1}">
      <dgm:prSet/>
      <dgm:spPr/>
      <dgm:t>
        <a:bodyPr/>
        <a:lstStyle/>
        <a:p>
          <a:endParaRPr lang="ca-ES"/>
        </a:p>
      </dgm:t>
    </dgm:pt>
    <dgm:pt modelId="{833FEE91-C049-4EF1-9225-A0AA71351F90}">
      <dgm:prSet/>
      <dgm:spPr>
        <a:solidFill>
          <a:schemeClr val="accent3"/>
        </a:solidFill>
        <a:ln w="12700">
          <a:solidFill>
            <a:srgbClr val="003366"/>
          </a:solidFill>
        </a:ln>
      </dgm:spPr>
      <dgm:t>
        <a:bodyPr/>
        <a:lstStyle/>
        <a:p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Seguimiento</a:t>
          </a:r>
          <a:r>
            <a:rPr lang="ca-ES" dirty="0" smtClean="0">
              <a:solidFill>
                <a:srgbClr val="003366"/>
              </a:solidFill>
              <a:latin typeface="Calibri" pitchFamily="34" charset="0"/>
            </a:rPr>
            <a:t> e  </a:t>
          </a:r>
          <a:r>
            <a:rPr lang="ca-ES" dirty="0" err="1" smtClean="0">
              <a:solidFill>
                <a:srgbClr val="003366"/>
              </a:solidFill>
              <a:latin typeface="Calibri" pitchFamily="34" charset="0"/>
            </a:rPr>
            <a:t>implantación</a:t>
          </a:r>
          <a:endParaRPr lang="ca-ES" dirty="0">
            <a:solidFill>
              <a:srgbClr val="003366"/>
            </a:solidFill>
            <a:latin typeface="Calibri" pitchFamily="34" charset="0"/>
          </a:endParaRPr>
        </a:p>
      </dgm:t>
    </dgm:pt>
    <dgm:pt modelId="{4A150645-F256-4B86-A952-849799FF41DD}" type="parTrans" cxnId="{0382106D-6A9E-4F89-A87A-7BE1FCCE67A9}">
      <dgm:prSet/>
      <dgm:spPr/>
      <dgm:t>
        <a:bodyPr/>
        <a:lstStyle/>
        <a:p>
          <a:endParaRPr lang="ca-ES"/>
        </a:p>
      </dgm:t>
    </dgm:pt>
    <dgm:pt modelId="{C1C32F5A-B7C6-4441-9769-16FAA2896BD9}" type="sibTrans" cxnId="{0382106D-6A9E-4F89-A87A-7BE1FCCE67A9}">
      <dgm:prSet/>
      <dgm:spPr/>
      <dgm:t>
        <a:bodyPr/>
        <a:lstStyle/>
        <a:p>
          <a:endParaRPr lang="ca-ES"/>
        </a:p>
      </dgm:t>
    </dgm:pt>
    <dgm:pt modelId="{582FE691-55BE-4B7B-8A0D-5FCB5EE8115C}" type="pres">
      <dgm:prSet presAssocID="{2FEEADF7-2629-4D63-9D59-85BC42860E35}" presName="CompostProcess" presStyleCnt="0">
        <dgm:presLayoutVars>
          <dgm:dir/>
          <dgm:resizeHandles val="exact"/>
        </dgm:presLayoutVars>
      </dgm:prSet>
      <dgm:spPr/>
    </dgm:pt>
    <dgm:pt modelId="{D40EDAB9-DA57-440C-A0A0-4411F4658726}" type="pres">
      <dgm:prSet presAssocID="{2FEEADF7-2629-4D63-9D59-85BC42860E35}" presName="arrow" presStyleLbl="bgShp" presStyleIdx="0" presStyleCnt="1" custLinFactNeighborX="35" custLinFactNeighborY="-1384"/>
      <dgm:spPr>
        <a:solidFill>
          <a:srgbClr val="003366"/>
        </a:solidFill>
      </dgm:spPr>
    </dgm:pt>
    <dgm:pt modelId="{E1D15C2D-C9F2-494F-969A-2CD40222392E}" type="pres">
      <dgm:prSet presAssocID="{2FEEADF7-2629-4D63-9D59-85BC42860E35}" presName="linearProcess" presStyleCnt="0"/>
      <dgm:spPr/>
    </dgm:pt>
    <dgm:pt modelId="{5E7BA69F-8E59-457B-86D7-8ABFC7E25E1F}" type="pres">
      <dgm:prSet presAssocID="{C13AFA8D-E599-4BF3-AAF5-41F49929E1A3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E2F14E03-A687-48B5-B092-4D5A9BE7DA2E}" type="pres">
      <dgm:prSet presAssocID="{0E557EDE-27E2-48A3-9758-6875300F1084}" presName="sibTrans" presStyleCnt="0"/>
      <dgm:spPr/>
    </dgm:pt>
    <dgm:pt modelId="{525158EC-E6A1-4279-8416-FE6157369EBA}" type="pres">
      <dgm:prSet presAssocID="{F9257870-8AD8-4915-8CB6-4BB77DDEC493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42C1B9F1-D6F0-4872-A70E-F1EFA6E320D7}" type="pres">
      <dgm:prSet presAssocID="{44121D70-F128-4BE6-93AD-9E0EFA779DCA}" presName="sibTrans" presStyleCnt="0"/>
      <dgm:spPr/>
    </dgm:pt>
    <dgm:pt modelId="{15EE54D9-C34B-465E-AADE-807561CE7058}" type="pres">
      <dgm:prSet presAssocID="{502E4E8B-D32F-4043-841D-50895DEAA929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D7BB904F-400A-42CF-9F17-EF8FD71E3EE1}" type="pres">
      <dgm:prSet presAssocID="{1733D405-05CC-4273-BDD2-66DBD19F3642}" presName="sibTrans" presStyleCnt="0"/>
      <dgm:spPr/>
    </dgm:pt>
    <dgm:pt modelId="{CF63220B-F27B-42FD-AE57-3CEC668DFA43}" type="pres">
      <dgm:prSet presAssocID="{5724D07D-CD86-4862-B89D-99C7A201AC09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34CF8999-8D0B-4844-91E7-C2657D7FC262}" type="pres">
      <dgm:prSet presAssocID="{BFE7219C-9DD6-4E87-912B-8D5FFE596E60}" presName="sibTrans" presStyleCnt="0"/>
      <dgm:spPr/>
    </dgm:pt>
    <dgm:pt modelId="{F34434EF-EDAE-4252-AEA7-CBB8AE8CAD25}" type="pres">
      <dgm:prSet presAssocID="{BF6F97AE-E90E-4CD9-B758-2C420122B80F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  <dgm:pt modelId="{9793B45A-A590-4AEA-8D6A-E2B2F6616CBC}" type="pres">
      <dgm:prSet presAssocID="{9208CADF-F429-4E83-908A-CE4F1318E358}" presName="sibTrans" presStyleCnt="0"/>
      <dgm:spPr/>
    </dgm:pt>
    <dgm:pt modelId="{AE01B1FA-1B56-4387-8FA4-B5F6300609E1}" type="pres">
      <dgm:prSet presAssocID="{833FEE91-C049-4EF1-9225-A0AA71351F90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ca-ES"/>
        </a:p>
      </dgm:t>
    </dgm:pt>
  </dgm:ptLst>
  <dgm:cxnLst>
    <dgm:cxn modelId="{31BDE32C-A08E-40DF-8B33-CE5070CDE7B4}" type="presOf" srcId="{F9257870-8AD8-4915-8CB6-4BB77DDEC493}" destId="{525158EC-E6A1-4279-8416-FE6157369EBA}" srcOrd="0" destOrd="0" presId="urn:microsoft.com/office/officeart/2005/8/layout/hProcess9"/>
    <dgm:cxn modelId="{E590950A-6EB4-400B-984B-1341661C2EA6}" srcId="{2FEEADF7-2629-4D63-9D59-85BC42860E35}" destId="{C13AFA8D-E599-4BF3-AAF5-41F49929E1A3}" srcOrd="0" destOrd="0" parTransId="{040F0491-7F18-4C16-A6B6-2CEA73DBE6F1}" sibTransId="{0E557EDE-27E2-48A3-9758-6875300F1084}"/>
    <dgm:cxn modelId="{0382106D-6A9E-4F89-A87A-7BE1FCCE67A9}" srcId="{2FEEADF7-2629-4D63-9D59-85BC42860E35}" destId="{833FEE91-C049-4EF1-9225-A0AA71351F90}" srcOrd="5" destOrd="0" parTransId="{4A150645-F256-4B86-A952-849799FF41DD}" sibTransId="{C1C32F5A-B7C6-4441-9769-16FAA2896BD9}"/>
    <dgm:cxn modelId="{43C43E43-08DC-4455-BAF5-973AF46E3332}" type="presOf" srcId="{C13AFA8D-E599-4BF3-AAF5-41F49929E1A3}" destId="{5E7BA69F-8E59-457B-86D7-8ABFC7E25E1F}" srcOrd="0" destOrd="0" presId="urn:microsoft.com/office/officeart/2005/8/layout/hProcess9"/>
    <dgm:cxn modelId="{7DAEC233-0E6B-4A17-8E41-FFA625C49012}" srcId="{2FEEADF7-2629-4D63-9D59-85BC42860E35}" destId="{5724D07D-CD86-4862-B89D-99C7A201AC09}" srcOrd="3" destOrd="0" parTransId="{5CFCFEA8-E8F1-47FE-98CC-B7406FBCAB32}" sibTransId="{BFE7219C-9DD6-4E87-912B-8D5FFE596E60}"/>
    <dgm:cxn modelId="{406B505B-ED89-4906-9EC3-06B8C4580E8A}" type="presOf" srcId="{833FEE91-C049-4EF1-9225-A0AA71351F90}" destId="{AE01B1FA-1B56-4387-8FA4-B5F6300609E1}" srcOrd="0" destOrd="0" presId="urn:microsoft.com/office/officeart/2005/8/layout/hProcess9"/>
    <dgm:cxn modelId="{463EAF8D-3F9D-4AB7-92FA-18779D864A96}" type="presOf" srcId="{5724D07D-CD86-4862-B89D-99C7A201AC09}" destId="{CF63220B-F27B-42FD-AE57-3CEC668DFA43}" srcOrd="0" destOrd="0" presId="urn:microsoft.com/office/officeart/2005/8/layout/hProcess9"/>
    <dgm:cxn modelId="{1D9F6741-AACE-42E0-9BD1-433FF2BECBE1}" type="presOf" srcId="{502E4E8B-D32F-4043-841D-50895DEAA929}" destId="{15EE54D9-C34B-465E-AADE-807561CE7058}" srcOrd="0" destOrd="0" presId="urn:microsoft.com/office/officeart/2005/8/layout/hProcess9"/>
    <dgm:cxn modelId="{9A78C351-183F-461C-9610-392E21669F0A}" srcId="{2FEEADF7-2629-4D63-9D59-85BC42860E35}" destId="{F9257870-8AD8-4915-8CB6-4BB77DDEC493}" srcOrd="1" destOrd="0" parTransId="{EC75932F-550F-420F-850E-8CC76A8776DE}" sibTransId="{44121D70-F128-4BE6-93AD-9E0EFA779DCA}"/>
    <dgm:cxn modelId="{8B139BFA-8C5D-454F-BE6D-BFAF20C62784}" srcId="{2FEEADF7-2629-4D63-9D59-85BC42860E35}" destId="{502E4E8B-D32F-4043-841D-50895DEAA929}" srcOrd="2" destOrd="0" parTransId="{B751F2CC-182C-44BE-BD32-94CFF216A1DA}" sibTransId="{1733D405-05CC-4273-BDD2-66DBD19F3642}"/>
    <dgm:cxn modelId="{C0880077-9980-4611-BAD7-D83F81F89195}" type="presOf" srcId="{2FEEADF7-2629-4D63-9D59-85BC42860E35}" destId="{582FE691-55BE-4B7B-8A0D-5FCB5EE8115C}" srcOrd="0" destOrd="0" presId="urn:microsoft.com/office/officeart/2005/8/layout/hProcess9"/>
    <dgm:cxn modelId="{50AA6D60-280B-4DBD-A843-876CBA2FA1B1}" srcId="{2FEEADF7-2629-4D63-9D59-85BC42860E35}" destId="{BF6F97AE-E90E-4CD9-B758-2C420122B80F}" srcOrd="4" destOrd="0" parTransId="{5C3FA5A3-C921-4BBE-B28D-E7A5B7240BF7}" sibTransId="{9208CADF-F429-4E83-908A-CE4F1318E358}"/>
    <dgm:cxn modelId="{DF996E13-85D9-421D-B077-39C9AED6B468}" type="presOf" srcId="{BF6F97AE-E90E-4CD9-B758-2C420122B80F}" destId="{F34434EF-EDAE-4252-AEA7-CBB8AE8CAD25}" srcOrd="0" destOrd="0" presId="urn:microsoft.com/office/officeart/2005/8/layout/hProcess9"/>
    <dgm:cxn modelId="{FB69F619-E80D-41CA-A970-E2FBAA0561F3}" type="presParOf" srcId="{582FE691-55BE-4B7B-8A0D-5FCB5EE8115C}" destId="{D40EDAB9-DA57-440C-A0A0-4411F4658726}" srcOrd="0" destOrd="0" presId="urn:microsoft.com/office/officeart/2005/8/layout/hProcess9"/>
    <dgm:cxn modelId="{7492ECC1-8825-4DEF-86BD-4521A38074E9}" type="presParOf" srcId="{582FE691-55BE-4B7B-8A0D-5FCB5EE8115C}" destId="{E1D15C2D-C9F2-494F-969A-2CD40222392E}" srcOrd="1" destOrd="0" presId="urn:microsoft.com/office/officeart/2005/8/layout/hProcess9"/>
    <dgm:cxn modelId="{8C9C8CDD-F905-4D09-8801-ADB88D3D0689}" type="presParOf" srcId="{E1D15C2D-C9F2-494F-969A-2CD40222392E}" destId="{5E7BA69F-8E59-457B-86D7-8ABFC7E25E1F}" srcOrd="0" destOrd="0" presId="urn:microsoft.com/office/officeart/2005/8/layout/hProcess9"/>
    <dgm:cxn modelId="{956F5E53-FC8C-4B57-8182-5BB964697D69}" type="presParOf" srcId="{E1D15C2D-C9F2-494F-969A-2CD40222392E}" destId="{E2F14E03-A687-48B5-B092-4D5A9BE7DA2E}" srcOrd="1" destOrd="0" presId="urn:microsoft.com/office/officeart/2005/8/layout/hProcess9"/>
    <dgm:cxn modelId="{123DE21B-416D-4227-83B0-4912B5A53D00}" type="presParOf" srcId="{E1D15C2D-C9F2-494F-969A-2CD40222392E}" destId="{525158EC-E6A1-4279-8416-FE6157369EBA}" srcOrd="2" destOrd="0" presId="urn:microsoft.com/office/officeart/2005/8/layout/hProcess9"/>
    <dgm:cxn modelId="{37DFF926-DB30-44DA-B5E6-D3F638E81B4F}" type="presParOf" srcId="{E1D15C2D-C9F2-494F-969A-2CD40222392E}" destId="{42C1B9F1-D6F0-4872-A70E-F1EFA6E320D7}" srcOrd="3" destOrd="0" presId="urn:microsoft.com/office/officeart/2005/8/layout/hProcess9"/>
    <dgm:cxn modelId="{D9ED450A-473D-4045-8DC9-E51F9F38AFFC}" type="presParOf" srcId="{E1D15C2D-C9F2-494F-969A-2CD40222392E}" destId="{15EE54D9-C34B-465E-AADE-807561CE7058}" srcOrd="4" destOrd="0" presId="urn:microsoft.com/office/officeart/2005/8/layout/hProcess9"/>
    <dgm:cxn modelId="{DCCF949C-F000-4759-975E-1E2E104EC370}" type="presParOf" srcId="{E1D15C2D-C9F2-494F-969A-2CD40222392E}" destId="{D7BB904F-400A-42CF-9F17-EF8FD71E3EE1}" srcOrd="5" destOrd="0" presId="urn:microsoft.com/office/officeart/2005/8/layout/hProcess9"/>
    <dgm:cxn modelId="{A65B2701-99A6-4A7A-93A6-C55D37DCDC97}" type="presParOf" srcId="{E1D15C2D-C9F2-494F-969A-2CD40222392E}" destId="{CF63220B-F27B-42FD-AE57-3CEC668DFA43}" srcOrd="6" destOrd="0" presId="urn:microsoft.com/office/officeart/2005/8/layout/hProcess9"/>
    <dgm:cxn modelId="{9244E0D8-88A3-44A8-B5C2-9E58F7871996}" type="presParOf" srcId="{E1D15C2D-C9F2-494F-969A-2CD40222392E}" destId="{34CF8999-8D0B-4844-91E7-C2657D7FC262}" srcOrd="7" destOrd="0" presId="urn:microsoft.com/office/officeart/2005/8/layout/hProcess9"/>
    <dgm:cxn modelId="{F8FE264B-3FD6-4702-BFE6-E02907E96322}" type="presParOf" srcId="{E1D15C2D-C9F2-494F-969A-2CD40222392E}" destId="{F34434EF-EDAE-4252-AEA7-CBB8AE8CAD25}" srcOrd="8" destOrd="0" presId="urn:microsoft.com/office/officeart/2005/8/layout/hProcess9"/>
    <dgm:cxn modelId="{621C3AF4-914A-4BFD-A182-8ED8547C71F0}" type="presParOf" srcId="{E1D15C2D-C9F2-494F-969A-2CD40222392E}" destId="{9793B45A-A590-4AEA-8D6A-E2B2F6616CBC}" srcOrd="9" destOrd="0" presId="urn:microsoft.com/office/officeart/2005/8/layout/hProcess9"/>
    <dgm:cxn modelId="{71A5D78D-C665-4CFF-BFA8-6F3E50BE4223}" type="presParOf" srcId="{E1D15C2D-C9F2-494F-969A-2CD40222392E}" destId="{AE01B1FA-1B56-4387-8FA4-B5F6300609E1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021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14021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64D4D73-6FCF-43BD-9322-881265D077C8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a-ES" noProof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ca-ES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021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14021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90C2A75-8385-4E67-8FD9-D23CD7DCB077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52" algn="l" defTabSz="9140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62" algn="l" defTabSz="9140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72" algn="l" defTabSz="9140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83" algn="l" defTabSz="9140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AB65B495-3E7A-45EC-9156-DE5D8E902FFE}" type="slidenum">
              <a:rPr lang="ca-ES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ca-ES"/>
          </a:p>
        </p:txBody>
      </p:sp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5800"/>
            <a:ext cx="45704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2587B2C6-537C-4E01-B4D1-AF07F81D7392}" type="slidenum">
              <a:rPr lang="ca-ES">
                <a:solidFill>
                  <a:srgbClr val="000000"/>
                </a:solidFill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ca-ES">
              <a:solidFill>
                <a:srgbClr val="000000"/>
              </a:solidFill>
            </a:endParaRPr>
          </a:p>
        </p:txBody>
      </p:sp>
      <p:sp>
        <p:nvSpPr>
          <p:cNvPr id="61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04888" y="685800"/>
            <a:ext cx="48498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FFB0BB2A-F7B7-42ED-BB21-2887B4FEE3C0}" type="slidenum">
              <a:rPr lang="ca-ES">
                <a:solidFill>
                  <a:srgbClr val="000000"/>
                </a:solidFill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ca-ES">
              <a:solidFill>
                <a:srgbClr val="000000"/>
              </a:solidFill>
            </a:endParaRPr>
          </a:p>
        </p:txBody>
      </p:sp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77888" y="685800"/>
            <a:ext cx="51038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F7019057-274D-46DD-900C-E8666FED78D9}" type="slidenum">
              <a:rPr lang="ca-ES">
                <a:latin typeface="Times" pitchFamily="18" charset="0"/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ca-ES">
              <a:latin typeface="Times" pitchFamily="18" charset="0"/>
            </a:endParaRPr>
          </a:p>
        </p:txBody>
      </p:sp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6498CC40-0191-401F-ABAB-A8C0BA1B4518}" type="slidenum">
              <a:rPr lang="ca-ES">
                <a:latin typeface="Times" pitchFamily="18" charset="0"/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ca-ES">
              <a:latin typeface="Times" pitchFamily="18" charset="0"/>
            </a:endParaRPr>
          </a:p>
        </p:txBody>
      </p:sp>
      <p:sp>
        <p:nvSpPr>
          <p:cNvPr id="737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266FB541-71E5-4F7E-9B23-5A7C97377F47}" type="slidenum">
              <a:rPr lang="ca-ES">
                <a:latin typeface="Times" pitchFamily="18" charset="0"/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ca-ES">
              <a:latin typeface="Times" pitchFamily="18" charset="0"/>
            </a:endParaRPr>
          </a:p>
        </p:txBody>
      </p:sp>
      <p:sp>
        <p:nvSpPr>
          <p:cNvPr id="75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04888" y="685800"/>
            <a:ext cx="48498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C8B94BE8-E5B1-49ED-88E9-F8157BFF8F45}" type="slidenum">
              <a:rPr lang="ca-ES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ca-ES"/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8B1C4A48-0876-4EF9-AEC7-5FEABC2A41CD}" type="slidenum">
              <a:rPr lang="ca-ES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ca-ES"/>
          </a:p>
        </p:txBody>
      </p:sp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04888" y="685800"/>
            <a:ext cx="48498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166534C3-E67E-45A0-BB87-DB31EF8F4E10}" type="slidenum">
              <a:rPr lang="ca-ES">
                <a:solidFill>
                  <a:srgbClr val="000000"/>
                </a:solidFill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ca-ES">
              <a:solidFill>
                <a:srgbClr val="000000"/>
              </a:solidFill>
            </a:endParaRPr>
          </a:p>
        </p:txBody>
      </p:sp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04888" y="685800"/>
            <a:ext cx="48498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961B1A52-3E59-4547-9A09-C7C4CFFA7D04}" type="slidenum">
              <a:rPr lang="ca-ES">
                <a:latin typeface="Times" pitchFamily="18" charset="0"/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ca-ES">
              <a:latin typeface="Times" pitchFamily="18" charset="0"/>
            </a:endParaRPr>
          </a:p>
        </p:txBody>
      </p:sp>
      <p:sp>
        <p:nvSpPr>
          <p:cNvPr id="49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F4E8BCB9-C88C-4F57-97AE-09A51AFC4FCC}" type="slidenum">
              <a:rPr lang="ca-ES" sz="1200">
                <a:solidFill>
                  <a:srgbClr val="000000"/>
                </a:solidFill>
                <a:latin typeface="Times" pitchFamily="18" charset="0"/>
              </a:rPr>
              <a:pPr algn="r"/>
              <a:t>15</a:t>
            </a:fld>
            <a:endParaRPr lang="ca-ES" sz="12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1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BE0CEC9A-51F8-44F8-AEE1-2CCCB9EA0CBC}" type="slidenum">
              <a:rPr lang="ca-ES">
                <a:solidFill>
                  <a:srgbClr val="000000"/>
                </a:solidFill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ca-ES">
              <a:solidFill>
                <a:srgbClr val="000000"/>
              </a:solidFill>
            </a:endParaRPr>
          </a:p>
        </p:txBody>
      </p:sp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5800"/>
            <a:ext cx="45704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94BBE6E2-2404-4CB6-A3AD-C8A0C81F5603}" type="slidenum">
              <a:rPr lang="ca-ES">
                <a:solidFill>
                  <a:srgbClr val="000000"/>
                </a:solidFill>
              </a:rPr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ca-ES">
              <a:solidFill>
                <a:srgbClr val="000000"/>
              </a:solidFill>
            </a:endParaRPr>
          </a:p>
        </p:txBody>
      </p:sp>
      <p:sp>
        <p:nvSpPr>
          <p:cNvPr id="5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4588" y="685800"/>
            <a:ext cx="45704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ca-E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04888" y="685800"/>
            <a:ext cx="4849812" cy="342741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i-FI" smtClean="0"/>
          </a:p>
        </p:txBody>
      </p:sp>
      <p:sp>
        <p:nvSpPr>
          <p:cNvPr id="583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fld id="{D51420F4-FF47-4B41-AF3F-EB16E9B82FF0}" type="slidenum">
              <a:rPr lang="fi-FI"/>
              <a:pPr defTabSz="912813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fi-FI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ca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F46D26-B5CD-4C32-8B86-92CBBFABB987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1D9350-E693-4C34-A6EB-AA578D6975D6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36760B-208C-4DE0-AFD1-46BEEF2760A9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2A5CDB-725A-4D24-9A57-65D370EEAC24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1" y="274642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09995F-B3F0-445A-8DA1-C6A9947CA3F5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1DAB55-EC51-4566-886A-D1CC3AFF5404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de present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571278" y="1195988"/>
            <a:ext cx="4572722" cy="523908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s-ES" noProof="0"/>
          </a:p>
        </p:txBody>
      </p:sp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766220" y="2886328"/>
            <a:ext cx="4090773" cy="1128762"/>
          </a:xfrm>
        </p:spPr>
        <p:txBody>
          <a:bodyPr/>
          <a:lstStyle>
            <a:lvl1pPr>
              <a:lnSpc>
                <a:spcPct val="95000"/>
              </a:lnSpc>
              <a:defRPr sz="29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7" y="6028945"/>
            <a:ext cx="4740104" cy="303897"/>
          </a:xfrm>
        </p:spPr>
        <p:txBody>
          <a:bodyPr anchor="b"/>
          <a:lstStyle>
            <a:lvl1pPr>
              <a:lnSpc>
                <a:spcPts val="1994"/>
              </a:lnSpc>
              <a:defRPr sz="1600" b="1" smtClean="0"/>
            </a:lvl1pPr>
          </a:lstStyle>
          <a:p>
            <a:r>
              <a:rPr lang="en-US" smtClean="0"/>
              <a:t>Click to edit Master subtitle style</a:t>
            </a:r>
            <a:endParaRPr lang="es-ES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5B1A61-98EF-4216-9F02-5E6B42E2BA7E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</p:cSld>
  <p:clrMapOvr>
    <a:masterClrMapping/>
  </p:clrMapOvr>
  <p:transition/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440" y="2129984"/>
            <a:ext cx="7773120" cy="1470394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2321" y="3885528"/>
            <a:ext cx="6400800" cy="1752664"/>
          </a:xfrm>
        </p:spPr>
        <p:txBody>
          <a:bodyPr/>
          <a:lstStyle>
            <a:lvl1pPr marL="0" indent="0" algn="ctr">
              <a:buNone/>
              <a:defRPr/>
            </a:lvl1pPr>
            <a:lvl2pPr marL="414726" indent="0" algn="ctr">
              <a:buNone/>
              <a:defRPr/>
            </a:lvl2pPr>
            <a:lvl3pPr marL="829452" indent="0" algn="ctr">
              <a:buNone/>
              <a:defRPr/>
            </a:lvl3pPr>
            <a:lvl4pPr marL="1244178" indent="0" algn="ctr">
              <a:buNone/>
              <a:defRPr/>
            </a:lvl4pPr>
            <a:lvl5pPr marL="1658904" indent="0" algn="ctr">
              <a:buNone/>
              <a:defRPr/>
            </a:lvl5pPr>
            <a:lvl6pPr marL="2073631" indent="0" algn="ctr">
              <a:buNone/>
              <a:defRPr/>
            </a:lvl6pPr>
            <a:lvl7pPr marL="2488357" indent="0" algn="ctr">
              <a:buNone/>
              <a:defRPr/>
            </a:lvl7pPr>
            <a:lvl8pPr marL="2903083" indent="0" algn="ctr">
              <a:buNone/>
              <a:defRPr/>
            </a:lvl8pPr>
            <a:lvl9pPr marL="3317809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E93944BC-0683-4058-85DB-A69C4A472D03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A4DDBBBB-CC82-47AB-BF6A-0B26B40AB26E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880" y="4406863"/>
            <a:ext cx="7771680" cy="1362383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880" y="2906225"/>
            <a:ext cx="7771680" cy="1500638"/>
          </a:xfrm>
        </p:spPr>
        <p:txBody>
          <a:bodyPr anchor="b"/>
          <a:lstStyle>
            <a:lvl1pPr marL="0" indent="0">
              <a:buNone/>
              <a:defRPr sz="1800"/>
            </a:lvl1pPr>
            <a:lvl2pPr marL="414726" indent="0">
              <a:buNone/>
              <a:defRPr sz="1600"/>
            </a:lvl2pPr>
            <a:lvl3pPr marL="829452" indent="0">
              <a:buNone/>
              <a:defRPr sz="1500"/>
            </a:lvl3pPr>
            <a:lvl4pPr marL="1244178" indent="0">
              <a:buNone/>
              <a:defRPr sz="1300"/>
            </a:lvl4pPr>
            <a:lvl5pPr marL="1658904" indent="0">
              <a:buNone/>
              <a:defRPr sz="1300"/>
            </a:lvl5pPr>
            <a:lvl6pPr marL="2073631" indent="0">
              <a:buNone/>
              <a:defRPr sz="1300"/>
            </a:lvl6pPr>
            <a:lvl7pPr marL="2488357" indent="0">
              <a:buNone/>
              <a:defRPr sz="1300"/>
            </a:lvl7pPr>
            <a:lvl8pPr marL="2903083" indent="0">
              <a:buNone/>
              <a:defRPr sz="1300"/>
            </a:lvl8pPr>
            <a:lvl9pPr marL="3317809" indent="0">
              <a:buNone/>
              <a:defRPr sz="13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8E45A8DB-C62E-4FC1-9365-E518125C67CA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6480" y="1604328"/>
            <a:ext cx="4042080" cy="4522075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36800" y="1604328"/>
            <a:ext cx="4043520" cy="4522075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76A1A7D3-EAA3-43BC-AD01-557A674963D9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921" y="275070"/>
            <a:ext cx="8229600" cy="1142039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920" y="1535201"/>
            <a:ext cx="4039200" cy="639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4726" indent="0">
              <a:buNone/>
              <a:defRPr sz="1800" b="1"/>
            </a:lvl2pPr>
            <a:lvl3pPr marL="829452" indent="0">
              <a:buNone/>
              <a:defRPr sz="1600" b="1"/>
            </a:lvl3pPr>
            <a:lvl4pPr marL="1244178" indent="0">
              <a:buNone/>
              <a:defRPr sz="1500" b="1"/>
            </a:lvl4pPr>
            <a:lvl5pPr marL="1658904" indent="0">
              <a:buNone/>
              <a:defRPr sz="1500" b="1"/>
            </a:lvl5pPr>
            <a:lvl6pPr marL="2073631" indent="0">
              <a:buNone/>
              <a:defRPr sz="1500" b="1"/>
            </a:lvl6pPr>
            <a:lvl7pPr marL="2488357" indent="0">
              <a:buNone/>
              <a:defRPr sz="1500" b="1"/>
            </a:lvl7pPr>
            <a:lvl8pPr marL="2903083" indent="0">
              <a:buNone/>
              <a:defRPr sz="1500" b="1"/>
            </a:lvl8pPr>
            <a:lvl9pPr marL="3317809" indent="0">
              <a:buNone/>
              <a:defRPr sz="15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920" y="2174628"/>
            <a:ext cx="4039200" cy="3951775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441" y="1535201"/>
            <a:ext cx="4042080" cy="639427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4726" indent="0">
              <a:buNone/>
              <a:defRPr sz="1800" b="1"/>
            </a:lvl2pPr>
            <a:lvl3pPr marL="829452" indent="0">
              <a:buNone/>
              <a:defRPr sz="1600" b="1"/>
            </a:lvl3pPr>
            <a:lvl4pPr marL="1244178" indent="0">
              <a:buNone/>
              <a:defRPr sz="1500" b="1"/>
            </a:lvl4pPr>
            <a:lvl5pPr marL="1658904" indent="0">
              <a:buNone/>
              <a:defRPr sz="1500" b="1"/>
            </a:lvl5pPr>
            <a:lvl6pPr marL="2073631" indent="0">
              <a:buNone/>
              <a:defRPr sz="1500" b="1"/>
            </a:lvl6pPr>
            <a:lvl7pPr marL="2488357" indent="0">
              <a:buNone/>
              <a:defRPr sz="1500" b="1"/>
            </a:lvl7pPr>
            <a:lvl8pPr marL="2903083" indent="0">
              <a:buNone/>
              <a:defRPr sz="1500" b="1"/>
            </a:lvl8pPr>
            <a:lvl9pPr marL="3317809" indent="0">
              <a:buNone/>
              <a:defRPr sz="15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441" y="2174628"/>
            <a:ext cx="4042080" cy="3951775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423022C6-F859-45C2-8D26-7F5CAD462B03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DF0F74FE-0E00-45E6-90AA-1D62D4F7B079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ECA05F15-1AD7-4EF1-B586-A6243E480AEF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C3CC3F-59B7-4D07-A4B8-DFF06067C812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6BD6E9-242E-45F4-A522-5667726EB7B0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920" y="273629"/>
            <a:ext cx="3008160" cy="1160762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521" y="273629"/>
            <a:ext cx="5112000" cy="5852774"/>
          </a:xfrm>
        </p:spPr>
        <p:txBody>
          <a:bodyPr/>
          <a:lstStyle>
            <a:lvl1pPr>
              <a:defRPr sz="2900"/>
            </a:lvl1pPr>
            <a:lvl2pPr>
              <a:defRPr sz="25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920" y="1434391"/>
            <a:ext cx="3008160" cy="4692013"/>
          </a:xfrm>
        </p:spPr>
        <p:txBody>
          <a:bodyPr/>
          <a:lstStyle>
            <a:lvl1pPr marL="0" indent="0">
              <a:buNone/>
              <a:defRPr sz="1300"/>
            </a:lvl1pPr>
            <a:lvl2pPr marL="414726" indent="0">
              <a:buNone/>
              <a:defRPr sz="1100"/>
            </a:lvl2pPr>
            <a:lvl3pPr marL="829452" indent="0">
              <a:buNone/>
              <a:defRPr sz="900"/>
            </a:lvl3pPr>
            <a:lvl4pPr marL="1244178" indent="0">
              <a:buNone/>
              <a:defRPr sz="800"/>
            </a:lvl4pPr>
            <a:lvl5pPr marL="1658904" indent="0">
              <a:buNone/>
              <a:defRPr sz="800"/>
            </a:lvl5pPr>
            <a:lvl6pPr marL="2073631" indent="0">
              <a:buNone/>
              <a:defRPr sz="800"/>
            </a:lvl6pPr>
            <a:lvl7pPr marL="2488357" indent="0">
              <a:buNone/>
              <a:defRPr sz="800"/>
            </a:lvl7pPr>
            <a:lvl8pPr marL="2903083" indent="0">
              <a:buNone/>
              <a:defRPr sz="800"/>
            </a:lvl8pPr>
            <a:lvl9pPr marL="3317809" indent="0">
              <a:buNone/>
              <a:defRPr sz="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8091D5F6-1566-4295-8A12-D88E005C0811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801" y="4800025"/>
            <a:ext cx="5486400" cy="56742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801" y="612065"/>
            <a:ext cx="5486400" cy="4115952"/>
          </a:xfrm>
        </p:spPr>
        <p:txBody>
          <a:bodyPr/>
          <a:lstStyle>
            <a:lvl1pPr marL="0" indent="0">
              <a:buNone/>
              <a:defRPr sz="2900"/>
            </a:lvl1pPr>
            <a:lvl2pPr marL="414726" indent="0">
              <a:buNone/>
              <a:defRPr sz="2500"/>
            </a:lvl2pPr>
            <a:lvl3pPr marL="829452" indent="0">
              <a:buNone/>
              <a:defRPr sz="2200"/>
            </a:lvl3pPr>
            <a:lvl4pPr marL="1244178" indent="0">
              <a:buNone/>
              <a:defRPr sz="1800"/>
            </a:lvl4pPr>
            <a:lvl5pPr marL="1658904" indent="0">
              <a:buNone/>
              <a:defRPr sz="1800"/>
            </a:lvl5pPr>
            <a:lvl6pPr marL="2073631" indent="0">
              <a:buNone/>
              <a:defRPr sz="1800"/>
            </a:lvl6pPr>
            <a:lvl7pPr marL="2488357" indent="0">
              <a:buNone/>
              <a:defRPr sz="1800"/>
            </a:lvl7pPr>
            <a:lvl8pPr marL="2903083" indent="0">
              <a:buNone/>
              <a:defRPr sz="1800"/>
            </a:lvl8pPr>
            <a:lvl9pPr marL="3317809" indent="0">
              <a:buNone/>
              <a:defRPr sz="18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801" y="5367444"/>
            <a:ext cx="5486400" cy="805044"/>
          </a:xfrm>
        </p:spPr>
        <p:txBody>
          <a:bodyPr/>
          <a:lstStyle>
            <a:lvl1pPr marL="0" indent="0">
              <a:buNone/>
              <a:defRPr sz="1300"/>
            </a:lvl1pPr>
            <a:lvl2pPr marL="414726" indent="0">
              <a:buNone/>
              <a:defRPr sz="1100"/>
            </a:lvl2pPr>
            <a:lvl3pPr marL="829452" indent="0">
              <a:buNone/>
              <a:defRPr sz="900"/>
            </a:lvl3pPr>
            <a:lvl4pPr marL="1244178" indent="0">
              <a:buNone/>
              <a:defRPr sz="800"/>
            </a:lvl4pPr>
            <a:lvl5pPr marL="1658904" indent="0">
              <a:buNone/>
              <a:defRPr sz="800"/>
            </a:lvl5pPr>
            <a:lvl6pPr marL="2073631" indent="0">
              <a:buNone/>
              <a:defRPr sz="800"/>
            </a:lvl6pPr>
            <a:lvl7pPr marL="2488357" indent="0">
              <a:buNone/>
              <a:defRPr sz="800"/>
            </a:lvl7pPr>
            <a:lvl8pPr marL="2903083" indent="0">
              <a:buNone/>
              <a:defRPr sz="800"/>
            </a:lvl8pPr>
            <a:lvl9pPr marL="3317809" indent="0">
              <a:buNone/>
              <a:defRPr sz="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40114B29-CE1D-4D38-AD1E-877D6395E35B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5E240576-198E-4BD4-B93C-3EBCBB292F44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5440" y="273629"/>
            <a:ext cx="2054880" cy="5852774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6480" y="273629"/>
            <a:ext cx="6030720" cy="5852774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2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AECC2F24-793A-4939-A96E-638637FC769C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371600" y="3689432"/>
            <a:ext cx="6400800" cy="58162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accent3">
                    <a:lumMod val="75000"/>
                  </a:schemeClr>
                </a:solidFill>
              </a:defRPr>
            </a:lvl1pPr>
            <a:lvl2pPr marL="4571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de present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4571278" y="1195984"/>
            <a:ext cx="4572722" cy="5239081"/>
          </a:xfr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s-ES" noProof="0"/>
          </a:p>
        </p:txBody>
      </p:sp>
      <p:sp>
        <p:nvSpPr>
          <p:cNvPr id="120835" name="Title Placeholder 1"/>
          <p:cNvSpPr>
            <a:spLocks noGrp="1"/>
          </p:cNvSpPr>
          <p:nvPr>
            <p:ph type="ctrTitle"/>
          </p:nvPr>
        </p:nvSpPr>
        <p:spPr>
          <a:xfrm>
            <a:off x="766216" y="2886328"/>
            <a:ext cx="4090773" cy="1128762"/>
          </a:xfrm>
        </p:spPr>
        <p:txBody>
          <a:bodyPr/>
          <a:lstStyle>
            <a:lvl1pPr>
              <a:lnSpc>
                <a:spcPct val="95000"/>
              </a:lnSpc>
              <a:defRPr sz="2900" b="0" smtClean="0">
                <a:latin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s-ES" dirty="0" smtClean="0"/>
          </a:p>
        </p:txBody>
      </p:sp>
      <p:sp>
        <p:nvSpPr>
          <p:cNvPr id="120836" name="Text Placeholder 2"/>
          <p:cNvSpPr>
            <a:spLocks noGrp="1"/>
          </p:cNvSpPr>
          <p:nvPr>
            <p:ph type="subTitle" idx="1"/>
          </p:nvPr>
        </p:nvSpPr>
        <p:spPr>
          <a:xfrm>
            <a:off x="406914" y="6028943"/>
            <a:ext cx="4740104" cy="303897"/>
          </a:xfrm>
        </p:spPr>
        <p:txBody>
          <a:bodyPr anchor="b"/>
          <a:lstStyle>
            <a:lvl1pPr>
              <a:lnSpc>
                <a:spcPts val="1994"/>
              </a:lnSpc>
              <a:defRPr sz="1600" b="1" smtClean="0"/>
            </a:lvl1pPr>
          </a:lstStyle>
          <a:p>
            <a:r>
              <a:rPr lang="en-US" smtClean="0"/>
              <a:t>Click to edit Master subtitle style</a:t>
            </a:r>
            <a:endParaRPr lang="es-ES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02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Times New Roman" pitchFamily="16" charset="0"/>
              <a:buNone/>
              <a:tabLst>
                <a:tab pos="0" algn="l"/>
                <a:tab pos="406086" algn="l"/>
                <a:tab pos="813612" algn="l"/>
                <a:tab pos="1221138" algn="l"/>
                <a:tab pos="1628664" algn="l"/>
                <a:tab pos="2036190" algn="l"/>
                <a:tab pos="2443717" algn="l"/>
                <a:tab pos="2851242" algn="l"/>
                <a:tab pos="3258769" algn="l"/>
                <a:tab pos="3666294" algn="l"/>
                <a:tab pos="4073821" algn="l"/>
                <a:tab pos="4481346" algn="l"/>
                <a:tab pos="4888873" algn="l"/>
                <a:tab pos="5296398" algn="l"/>
                <a:tab pos="5703925" algn="l"/>
                <a:tab pos="6111450" algn="l"/>
                <a:tab pos="6518977" algn="l"/>
                <a:tab pos="6926502" algn="l"/>
                <a:tab pos="7334029" algn="l"/>
                <a:tab pos="7741554" algn="l"/>
                <a:tab pos="8149081" algn="l"/>
              </a:tabLst>
              <a:defRPr>
                <a:latin typeface="Times New Roman" pitchFamily="16" charset="0"/>
                <a:ea typeface="+mn-ea"/>
              </a:defRPr>
            </a:lvl1pPr>
          </a:lstStyle>
          <a:p>
            <a:pPr>
              <a:defRPr/>
            </a:pPr>
            <a:fld id="{6F498F5F-223C-4F2F-8466-E1D779363208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</p:cSld>
  <p:clrMapOvr>
    <a:masterClrMapping/>
  </p:clrMapOvr>
  <p:transition/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4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DD6F2C-0CDD-4A35-971B-16010E086B5D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A595E1-1E53-490F-A08F-0CAACB93F94A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E3F31-F081-4A87-9ECA-1424442E9903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B0378-6157-4700-B567-0E90B7BBAD55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21" indent="0">
              <a:buNone/>
              <a:defRPr sz="1800" b="1"/>
            </a:lvl3pPr>
            <a:lvl4pPr marL="1371032" indent="0">
              <a:buNone/>
              <a:defRPr sz="1600" b="1"/>
            </a:lvl4pPr>
            <a:lvl5pPr marL="1828041" indent="0">
              <a:buNone/>
              <a:defRPr sz="1600" b="1"/>
            </a:lvl5pPr>
            <a:lvl6pPr marL="2285052" indent="0">
              <a:buNone/>
              <a:defRPr sz="1600" b="1"/>
            </a:lvl6pPr>
            <a:lvl7pPr marL="2742062" indent="0">
              <a:buNone/>
              <a:defRPr sz="1600" b="1"/>
            </a:lvl7pPr>
            <a:lvl8pPr marL="3199072" indent="0">
              <a:buNone/>
              <a:defRPr sz="1600" b="1"/>
            </a:lvl8pPr>
            <a:lvl9pPr marL="3656083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21" indent="0">
              <a:buNone/>
              <a:defRPr sz="1800" b="1"/>
            </a:lvl3pPr>
            <a:lvl4pPr marL="1371032" indent="0">
              <a:buNone/>
              <a:defRPr sz="1600" b="1"/>
            </a:lvl4pPr>
            <a:lvl5pPr marL="1828041" indent="0">
              <a:buNone/>
              <a:defRPr sz="1600" b="1"/>
            </a:lvl5pPr>
            <a:lvl6pPr marL="2285052" indent="0">
              <a:buNone/>
              <a:defRPr sz="1600" b="1"/>
            </a:lvl6pPr>
            <a:lvl7pPr marL="2742062" indent="0">
              <a:buNone/>
              <a:defRPr sz="1600" b="1"/>
            </a:lvl7pPr>
            <a:lvl8pPr marL="3199072" indent="0">
              <a:buNone/>
              <a:defRPr sz="1600" b="1"/>
            </a:lvl8pPr>
            <a:lvl9pPr marL="3656083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F9FE4B-8273-41D7-928E-16E789C34D33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29C252-D606-44E7-9C7A-198A1313308B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E9D99-1DFB-4364-9D59-FCF22911FF34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845482-3E31-4868-9DEA-77BB7F3EF8D9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527F5C-20ED-45D4-A17D-CEDC92DF4441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EB3D38-D1A7-4421-AA04-ACA5167C2A90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4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11" indent="0">
              <a:buNone/>
              <a:defRPr sz="1200"/>
            </a:lvl2pPr>
            <a:lvl3pPr marL="914021" indent="0">
              <a:buNone/>
              <a:defRPr sz="1000"/>
            </a:lvl3pPr>
            <a:lvl4pPr marL="1371032" indent="0">
              <a:buNone/>
              <a:defRPr sz="900"/>
            </a:lvl4pPr>
            <a:lvl5pPr marL="1828041" indent="0">
              <a:buNone/>
              <a:defRPr sz="900"/>
            </a:lvl5pPr>
            <a:lvl6pPr marL="2285052" indent="0">
              <a:buNone/>
              <a:defRPr sz="900"/>
            </a:lvl6pPr>
            <a:lvl7pPr marL="2742062" indent="0">
              <a:buNone/>
              <a:defRPr sz="900"/>
            </a:lvl7pPr>
            <a:lvl8pPr marL="3199072" indent="0">
              <a:buNone/>
              <a:defRPr sz="900"/>
            </a:lvl8pPr>
            <a:lvl9pPr marL="3656083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DBDD79-1025-47EA-AC5C-4F12371215E0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3AB85-79A4-41E5-A526-3FE46FC06A7F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ca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011" indent="0">
              <a:buNone/>
              <a:defRPr sz="2800"/>
            </a:lvl2pPr>
            <a:lvl3pPr marL="914021" indent="0">
              <a:buNone/>
              <a:defRPr sz="2400"/>
            </a:lvl3pPr>
            <a:lvl4pPr marL="1371032" indent="0">
              <a:buNone/>
              <a:defRPr sz="2000"/>
            </a:lvl4pPr>
            <a:lvl5pPr marL="1828041" indent="0">
              <a:buNone/>
              <a:defRPr sz="2000"/>
            </a:lvl5pPr>
            <a:lvl6pPr marL="2285052" indent="0">
              <a:buNone/>
              <a:defRPr sz="2000"/>
            </a:lvl6pPr>
            <a:lvl7pPr marL="2742062" indent="0">
              <a:buNone/>
              <a:defRPr sz="2000"/>
            </a:lvl7pPr>
            <a:lvl8pPr marL="3199072" indent="0">
              <a:buNone/>
              <a:defRPr sz="2000"/>
            </a:lvl8pPr>
            <a:lvl9pPr marL="3656083" indent="0">
              <a:buNone/>
              <a:defRPr sz="2000"/>
            </a:lvl9pPr>
          </a:lstStyle>
          <a:p>
            <a:pPr lvl="0"/>
            <a:endParaRPr lang="ca-ES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11" indent="0">
              <a:buNone/>
              <a:defRPr sz="1200"/>
            </a:lvl2pPr>
            <a:lvl3pPr marL="914021" indent="0">
              <a:buNone/>
              <a:defRPr sz="1000"/>
            </a:lvl3pPr>
            <a:lvl4pPr marL="1371032" indent="0">
              <a:buNone/>
              <a:defRPr sz="900"/>
            </a:lvl4pPr>
            <a:lvl5pPr marL="1828041" indent="0">
              <a:buNone/>
              <a:defRPr sz="900"/>
            </a:lvl5pPr>
            <a:lvl6pPr marL="2285052" indent="0">
              <a:buNone/>
              <a:defRPr sz="900"/>
            </a:lvl6pPr>
            <a:lvl7pPr marL="2742062" indent="0">
              <a:buNone/>
              <a:defRPr sz="900"/>
            </a:lvl7pPr>
            <a:lvl8pPr marL="3199072" indent="0">
              <a:buNone/>
              <a:defRPr sz="900"/>
            </a:lvl8pPr>
            <a:lvl9pPr marL="3656083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C07023-2DB7-49B5-A4DB-583FE65E45A3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C6E83E-6A71-4AAB-8BE6-51550276498E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0" tIns="45702" rIns="91400" bIns="4570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ca-ES" smtClean="0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0" tIns="45702" rIns="91400" bIns="45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ca-E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00" tIns="45702" rIns="91400" bIns="45702" rtlCol="0" anchor="ctr"/>
          <a:lstStyle>
            <a:lvl1pPr algn="l" defTabSz="914021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412D937-6052-4CDD-9FE9-0A33B65F7DC4}" type="datetimeFigureOut">
              <a:rPr lang="ca-ES"/>
              <a:pPr>
                <a:defRPr/>
              </a:pPr>
              <a:t>06/06/2016</a:t>
            </a:fld>
            <a:endParaRPr lang="ca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00" tIns="45702" rIns="91400" bIns="45702" rtlCol="0" anchor="ctr"/>
          <a:lstStyle>
            <a:lvl1pPr algn="ctr" defTabSz="914021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00" tIns="45702" rIns="91400" bIns="45702" rtlCol="0" anchor="ctr"/>
          <a:lstStyle>
            <a:lvl1pPr algn="r" defTabSz="914021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245AF5B-6037-4313-AABB-D13FC0C668F0}" type="slidenum">
              <a:rPr lang="ca-ES"/>
              <a:pPr>
                <a:defRPr/>
              </a:pPr>
              <a:t>‹Nº›</a:t>
            </a:fld>
            <a:endParaRPr lang="ca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9" r:id="rId2"/>
    <p:sldLayoutId id="2147483698" r:id="rId3"/>
    <p:sldLayoutId id="2147483697" r:id="rId4"/>
    <p:sldLayoutId id="2147483696" r:id="rId5"/>
    <p:sldLayoutId id="2147483695" r:id="rId6"/>
    <p:sldLayoutId id="2147483694" r:id="rId7"/>
    <p:sldLayoutId id="2147483693" r:id="rId8"/>
    <p:sldLayoutId id="2147483692" r:id="rId9"/>
    <p:sldLayoutId id="2147483691" r:id="rId10"/>
    <p:sldLayoutId id="2147483690" r:id="rId11"/>
    <p:sldLayoutId id="2147483701" r:id="rId12"/>
  </p:sldLayoutIdLst>
  <p:txStyles>
    <p:titleStyle>
      <a:lvl1pPr algn="ctr" defTabSz="912813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1313" indent="-3413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6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defTabSz="912813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58" indent="-228506" algn="l" defTabSz="9140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68" indent="-228506" algn="l" defTabSz="9140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79" indent="-228506" algn="l" defTabSz="9140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89" indent="-228506" algn="l" defTabSz="91402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21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32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41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52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62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72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83" algn="l" defTabSz="9140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3250" cy="1141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Pulse para editar el formato del texto de título</a:t>
            </a:r>
          </a:p>
        </p:txBody>
      </p:sp>
      <p:sp>
        <p:nvSpPr>
          <p:cNvPr id="14339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3250" cy="452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5471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Pulse para editar los formatos del texto del esquema</a:t>
            </a:r>
          </a:p>
          <a:p>
            <a:pPr lvl="1"/>
            <a:r>
              <a:rPr lang="en-GB" smtClean="0"/>
              <a:t>Segundo nivel del esquema</a:t>
            </a:r>
          </a:p>
          <a:p>
            <a:pPr lvl="2"/>
            <a:r>
              <a:rPr lang="en-GB" smtClean="0"/>
              <a:t>Tercer nivel del esquema</a:t>
            </a:r>
          </a:p>
          <a:p>
            <a:pPr lvl="3"/>
            <a:r>
              <a:rPr lang="en-GB" smtClean="0"/>
              <a:t>Cuarto nivel del esquema</a:t>
            </a:r>
          </a:p>
          <a:p>
            <a:pPr lvl="4"/>
            <a:r>
              <a:rPr lang="en-GB" smtClean="0"/>
              <a:t>Quinto nivel del esquema</a:t>
            </a:r>
          </a:p>
          <a:p>
            <a:pPr lvl="4"/>
            <a:r>
              <a:rPr lang="en-GB" smtClean="0"/>
              <a:t>Sexto nivel del esquema</a:t>
            </a:r>
          </a:p>
          <a:p>
            <a:pPr lvl="4"/>
            <a:r>
              <a:rPr lang="en-GB" smtClean="0"/>
              <a:t>Séptimo nivel del esquema</a:t>
            </a:r>
          </a:p>
          <a:p>
            <a:pPr lvl="4"/>
            <a:r>
              <a:rPr lang="en-GB" smtClean="0"/>
              <a:t>Octavo nivel del esquema</a:t>
            </a:r>
          </a:p>
          <a:p>
            <a:pPr lvl="4"/>
            <a:r>
              <a:rPr lang="en-GB" smtClean="0"/>
              <a:t>Noveno nivel del esquema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246813"/>
            <a:ext cx="2124075" cy="468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hangingPunct="0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300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</a:defRPr>
            </a:lvl1pPr>
          </a:lstStyle>
          <a:p>
            <a:endParaRPr lang="es-ES_tradnl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3127375" y="6246813"/>
            <a:ext cx="2894013" cy="468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hangingPunct="0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300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</a:defRPr>
            </a:lvl1pPr>
          </a:lstStyle>
          <a:p>
            <a:endParaRPr lang="es-ES_tradnl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6375" y="6246813"/>
            <a:ext cx="2125663" cy="468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hangingPunct="0">
              <a:lnSpc>
                <a:spcPct val="95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 sz="1300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</a:defRPr>
            </a:lvl1pPr>
          </a:lstStyle>
          <a:p>
            <a:fld id="{EB07804F-1313-4BFC-AF1C-FA4893387D65}" type="slidenum">
              <a:rPr lang="es-ES_tradnl"/>
              <a:pPr/>
              <a:t>‹Nº›</a:t>
            </a:fld>
            <a:endParaRPr lang="es-ES_tradnl"/>
          </a:p>
        </p:txBody>
      </p:sp>
      <p:pic>
        <p:nvPicPr>
          <p:cNvPr id="14343" name="Imagen 3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1403350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4" name="Picture 12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</p:sldLayoutIdLst>
  <p:txStyles>
    <p:titleStyle>
      <a:lvl1pPr algn="ctr" defTabSz="4064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000000"/>
          </a:solidFill>
          <a:latin typeface="+mj-lt"/>
          <a:ea typeface="Arial Unicode MS" pitchFamily="34" charset="-128"/>
          <a:cs typeface="+mj-cs"/>
        </a:defRPr>
      </a:lvl1pPr>
      <a:lvl2pPr algn="ctr" defTabSz="4064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2pPr>
      <a:lvl3pPr algn="ctr" defTabSz="4064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3pPr>
      <a:lvl4pPr algn="ctr" defTabSz="4064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4pPr>
      <a:lvl5pPr algn="ctr" defTabSz="4064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0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5pPr>
      <a:lvl6pPr marL="2280994" indent="-207363" algn="ctr" defTabSz="40752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cs typeface="Arial Unicode MS" charset="0"/>
        </a:defRPr>
      </a:lvl6pPr>
      <a:lvl7pPr marL="2695720" indent="-207363" algn="ctr" defTabSz="40752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cs typeface="Arial Unicode MS" charset="0"/>
        </a:defRPr>
      </a:lvl7pPr>
      <a:lvl8pPr marL="3110446" indent="-207363" algn="ctr" defTabSz="40752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cs typeface="Arial Unicode MS" charset="0"/>
        </a:defRPr>
      </a:lvl8pPr>
      <a:lvl9pPr marL="3525172" indent="-207363" algn="ctr" defTabSz="407526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0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09563" indent="-309563" algn="l" defTabSz="406400" rtl="0" eaLnBrk="0" fontAlgn="base" hangingPunct="0">
        <a:lnSpc>
          <a:spcPct val="93000"/>
        </a:lnSpc>
        <a:spcBef>
          <a:spcPct val="0"/>
        </a:spcBef>
        <a:spcAft>
          <a:spcPts val="1288"/>
        </a:spcAft>
        <a:buClr>
          <a:srgbClr val="000000"/>
        </a:buClr>
        <a:buSzPct val="100000"/>
        <a:buFont typeface="Times New Roman" pitchFamily="18" charset="0"/>
        <a:defRPr sz="29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673100" indent="-258763" algn="l" defTabSz="406400" rtl="0" eaLnBrk="0" fontAlgn="base" hangingPunct="0">
        <a:lnSpc>
          <a:spcPct val="93000"/>
        </a:lnSpc>
        <a:spcBef>
          <a:spcPct val="0"/>
        </a:spcBef>
        <a:spcAft>
          <a:spcPts val="1038"/>
        </a:spcAft>
        <a:buClr>
          <a:srgbClr val="000000"/>
        </a:buClr>
        <a:buSzPct val="100000"/>
        <a:buFont typeface="Times New Roman" pitchFamily="18" charset="0"/>
        <a:defRPr sz="25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036638" indent="-206375" algn="l" defTabSz="406400" rtl="0" eaLnBrk="0" fontAlgn="base" hangingPunct="0">
        <a:lnSpc>
          <a:spcPct val="93000"/>
        </a:lnSpc>
        <a:spcBef>
          <a:spcPct val="0"/>
        </a:spcBef>
        <a:spcAft>
          <a:spcPts val="775"/>
        </a:spcAft>
        <a:buClr>
          <a:srgbClr val="000000"/>
        </a:buClr>
        <a:buSzPct val="100000"/>
        <a:buFont typeface="Times New Roman" pitchFamily="18" charset="0"/>
        <a:defRPr sz="22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450975" indent="-206375" algn="l" defTabSz="406400" rtl="0" eaLnBrk="0" fontAlgn="base" hangingPunct="0">
        <a:lnSpc>
          <a:spcPct val="93000"/>
        </a:lnSpc>
        <a:spcBef>
          <a:spcPct val="0"/>
        </a:spcBef>
        <a:spcAft>
          <a:spcPts val="525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1865313" indent="-206375" algn="l" defTabSz="406400" rtl="0" eaLnBrk="0" fontAlgn="base" hangingPunct="0">
        <a:lnSpc>
          <a:spcPct val="93000"/>
        </a:lnSpc>
        <a:spcBef>
          <a:spcPct val="0"/>
        </a:spcBef>
        <a:spcAft>
          <a:spcPts val="263"/>
        </a:spcAft>
        <a:buClr>
          <a:srgbClr val="000000"/>
        </a:buClr>
        <a:buSzPct val="100000"/>
        <a:buFont typeface="Times New Roman" pitchFamily="18" charset="0"/>
        <a:defRPr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280994" indent="-207363" algn="l" defTabSz="407526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00000"/>
          </a:solidFill>
          <a:latin typeface="+mn-lt"/>
          <a:cs typeface="+mn-cs"/>
        </a:defRPr>
      </a:lvl6pPr>
      <a:lvl7pPr marL="2695720" indent="-207363" algn="l" defTabSz="407526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00000"/>
          </a:solidFill>
          <a:latin typeface="+mn-lt"/>
          <a:cs typeface="+mn-cs"/>
        </a:defRPr>
      </a:lvl7pPr>
      <a:lvl8pPr marL="3110446" indent="-207363" algn="l" defTabSz="407526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00000"/>
          </a:solidFill>
          <a:latin typeface="+mn-lt"/>
          <a:cs typeface="+mn-cs"/>
        </a:defRPr>
      </a:lvl8pPr>
      <a:lvl9pPr marL="3525172" indent="-207363" algn="l" defTabSz="407526" rtl="0" fontAlgn="base" hangingPunct="0">
        <a:lnSpc>
          <a:spcPct val="93000"/>
        </a:lnSpc>
        <a:spcBef>
          <a:spcPct val="0"/>
        </a:spcBef>
        <a:spcAft>
          <a:spcPts val="261"/>
        </a:spcAft>
        <a:buClr>
          <a:srgbClr val="000000"/>
        </a:buClr>
        <a:buSzPct val="100000"/>
        <a:buFont typeface="Times New Roman" pitchFamily="16" charset="0"/>
        <a:defRPr sz="1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s-ES"/>
      </a:defPPr>
      <a:lvl1pPr marL="0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726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452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4178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904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3631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8357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3083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7809" algn="l" defTabSz="82945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image" Target="../media/image3.jpe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peg"/><Relationship Id="rId11" Type="http://schemas.openxmlformats.org/officeDocument/2006/relationships/image" Target="../media/image19.jpe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pn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png"/><Relationship Id="rId5" Type="http://schemas.openxmlformats.org/officeDocument/2006/relationships/image" Target="../media/image2.png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gi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868863"/>
            <a:ext cx="6400800" cy="1752600"/>
          </a:xfrm>
        </p:spPr>
        <p:txBody>
          <a:bodyPr rtlCol="0">
            <a:normAutofit/>
          </a:bodyPr>
          <a:lstStyle/>
          <a:p>
            <a:pPr defTabSz="914021" fontAlgn="auto">
              <a:spcAft>
                <a:spcPts val="0"/>
              </a:spcAft>
              <a:buClr>
                <a:srgbClr val="CC0033"/>
              </a:buClr>
              <a:buFont typeface="Wingdings" pitchFamily="2" charset="2"/>
              <a:buNone/>
              <a:defRPr/>
            </a:pPr>
            <a:endParaRPr lang="en-US" smtClean="0">
              <a:latin typeface="Helvetica Bold" charset="0"/>
            </a:endParaRPr>
          </a:p>
          <a:p>
            <a:pPr defTabSz="914021" fontAlgn="auto">
              <a:spcAft>
                <a:spcPts val="0"/>
              </a:spcAft>
              <a:buClr>
                <a:srgbClr val="CC0033"/>
              </a:buClr>
              <a:buFont typeface="Wingdings" pitchFamily="2" charset="2"/>
              <a:buNone/>
              <a:defRPr/>
            </a:pPr>
            <a:endParaRPr lang="en-US" smtClean="0">
              <a:latin typeface="Helvetica Bold" charset="0"/>
            </a:endParaRPr>
          </a:p>
        </p:txBody>
      </p:sp>
      <p:sp>
        <p:nvSpPr>
          <p:cNvPr id="29699" name="Rectangle 5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algn="ctr">
              <a:spcBef>
                <a:spcPct val="20000"/>
              </a:spcBef>
              <a:buClr>
                <a:srgbClr val="CC0033"/>
              </a:buClr>
              <a:buFont typeface="Wingdings" pitchFamily="2" charset="2"/>
              <a:buNone/>
            </a:pPr>
            <a:endParaRPr lang="en-US" sz="3200">
              <a:latin typeface="Helvetica Bold"/>
            </a:endParaRPr>
          </a:p>
          <a:p>
            <a:pPr algn="ctr">
              <a:spcBef>
                <a:spcPct val="20000"/>
              </a:spcBef>
              <a:buClr>
                <a:srgbClr val="CC0033"/>
              </a:buClr>
              <a:buFont typeface="Wingdings" pitchFamily="2" charset="2"/>
              <a:buNone/>
            </a:pPr>
            <a:endParaRPr lang="en-US" sz="3200">
              <a:latin typeface="Helvetica Bold"/>
            </a:endParaRPr>
          </a:p>
        </p:txBody>
      </p:sp>
      <p:sp>
        <p:nvSpPr>
          <p:cNvPr id="29700" name="Rectangle 7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latin typeface="Calibri" pitchFamily="34" charset="0"/>
            </a:endParaRPr>
          </a:p>
        </p:txBody>
      </p:sp>
      <p:sp>
        <p:nvSpPr>
          <p:cNvPr id="29701" name="Rectangle 11"/>
          <p:cNvSpPr>
            <a:spLocks noChangeArrowheads="1"/>
          </p:cNvSpPr>
          <p:nvPr/>
        </p:nvSpPr>
        <p:spPr bwMode="auto">
          <a:xfrm>
            <a:off x="1692275" y="3141663"/>
            <a:ext cx="6400800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en-U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ca-E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ca-E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ca-E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ca-E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endParaRPr lang="ca-ES" b="1">
              <a:solidFill>
                <a:srgbClr val="003366"/>
              </a:solidFill>
              <a:latin typeface="Calibri" pitchFamily="34" charset="0"/>
            </a:endParaRP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ca-ES" b="1">
                <a:solidFill>
                  <a:srgbClr val="003366"/>
                </a:solidFill>
                <a:latin typeface="Calibri" pitchFamily="34" charset="0"/>
              </a:rPr>
              <a:t>Ramon Maspons,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ca-ES" b="1">
                <a:solidFill>
                  <a:srgbClr val="003366"/>
                </a:solidFill>
                <a:latin typeface="Calibri" pitchFamily="34" charset="0"/>
              </a:rPr>
              <a:t>Coordinador innovació </a:t>
            </a:r>
          </a:p>
          <a:p>
            <a:pPr algn="ctr">
              <a:lnSpc>
                <a:spcPct val="80000"/>
              </a:lnSpc>
              <a:spcBef>
                <a:spcPct val="20000"/>
              </a:spcBef>
            </a:pPr>
            <a:r>
              <a:rPr lang="ca-ES" b="1">
                <a:solidFill>
                  <a:srgbClr val="003366"/>
                </a:solidFill>
                <a:latin typeface="Calibri" pitchFamily="34" charset="0"/>
              </a:rPr>
              <a:t>AQuAS</a:t>
            </a:r>
            <a:endParaRPr lang="en-US" b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29702" name="Line 12"/>
          <p:cNvSpPr>
            <a:spLocks noChangeShapeType="1"/>
          </p:cNvSpPr>
          <p:nvPr/>
        </p:nvSpPr>
        <p:spPr bwMode="auto">
          <a:xfrm>
            <a:off x="539750" y="2924175"/>
            <a:ext cx="7697788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pic>
        <p:nvPicPr>
          <p:cNvPr id="29703" name="Imagen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03350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04" name="Picture 1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0"/>
          <p:cNvSpPr txBox="1">
            <a:spLocks noChangeArrowheads="1"/>
          </p:cNvSpPr>
          <p:nvPr/>
        </p:nvSpPr>
        <p:spPr bwMode="auto">
          <a:xfrm>
            <a:off x="1090613" y="1017588"/>
            <a:ext cx="7772400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ctr"/>
          <a:lstStyle/>
          <a:p>
            <a:pPr algn="ctr" defTabSz="9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i="1" dirty="0" err="1">
                <a:solidFill>
                  <a:srgbClr val="003366"/>
                </a:solidFill>
                <a:latin typeface="+mn-lt"/>
              </a:rPr>
              <a:t>Finançament</a:t>
            </a:r>
            <a:r>
              <a:rPr lang="pt-BR" sz="2800" i="1" dirty="0">
                <a:solidFill>
                  <a:srgbClr val="003366"/>
                </a:solidFill>
                <a:latin typeface="+mn-lt"/>
              </a:rPr>
              <a:t> </a:t>
            </a:r>
            <a:r>
              <a:rPr lang="pt-BR" sz="2800" i="1" dirty="0" err="1">
                <a:solidFill>
                  <a:srgbClr val="003366"/>
                </a:solidFill>
                <a:latin typeface="+mn-lt"/>
              </a:rPr>
              <a:t>als</a:t>
            </a:r>
            <a:r>
              <a:rPr lang="pt-BR" sz="2800" i="1" dirty="0">
                <a:solidFill>
                  <a:srgbClr val="003366"/>
                </a:solidFill>
                <a:latin typeface="+mn-lt"/>
              </a:rPr>
              <a:t> </a:t>
            </a:r>
            <a:r>
              <a:rPr lang="pt-BR" sz="2800" i="1" dirty="0" err="1">
                <a:solidFill>
                  <a:srgbClr val="003366"/>
                </a:solidFill>
                <a:latin typeface="+mn-lt"/>
              </a:rPr>
              <a:t>poders</a:t>
            </a:r>
            <a:r>
              <a:rPr lang="pt-BR" sz="2800" i="1" dirty="0">
                <a:solidFill>
                  <a:srgbClr val="003366"/>
                </a:solidFill>
                <a:latin typeface="+mn-lt"/>
              </a:rPr>
              <a:t> </a:t>
            </a:r>
            <a:r>
              <a:rPr lang="pt-BR" sz="2800" i="1" dirty="0" err="1">
                <a:solidFill>
                  <a:srgbClr val="003366"/>
                </a:solidFill>
                <a:latin typeface="+mn-lt"/>
              </a:rPr>
              <a:t>adjudicadors</a:t>
            </a:r>
            <a:r>
              <a:rPr lang="pt-BR" sz="2800" i="1" dirty="0">
                <a:solidFill>
                  <a:srgbClr val="003366"/>
                </a:solidFill>
                <a:latin typeface="+mn-lt"/>
              </a:rPr>
              <a:t> per a </a:t>
            </a:r>
            <a:br>
              <a:rPr lang="pt-BR" sz="2800" i="1" dirty="0">
                <a:solidFill>
                  <a:srgbClr val="003366"/>
                </a:solidFill>
                <a:latin typeface="+mn-lt"/>
              </a:rPr>
            </a:br>
            <a:r>
              <a:rPr lang="ca-ES" sz="2800" i="1" dirty="0">
                <a:solidFill>
                  <a:srgbClr val="003366"/>
                </a:solidFill>
                <a:latin typeface="+mn-lt"/>
              </a:rPr>
              <a:t>realitzar CPI i experiències de CPI en l’àmbit</a:t>
            </a:r>
            <a:br>
              <a:rPr lang="ca-ES" sz="2800" i="1" dirty="0">
                <a:solidFill>
                  <a:srgbClr val="003366"/>
                </a:solidFill>
                <a:latin typeface="+mn-lt"/>
              </a:rPr>
            </a:br>
            <a:r>
              <a:rPr lang="ca-ES" sz="2800" i="1" dirty="0">
                <a:solidFill>
                  <a:srgbClr val="003366"/>
                </a:solidFill>
                <a:latin typeface="+mn-lt"/>
              </a:rPr>
              <a:t>sanitari i social</a:t>
            </a:r>
            <a:br>
              <a:rPr lang="ca-ES" sz="2800" i="1" dirty="0">
                <a:solidFill>
                  <a:srgbClr val="003366"/>
                </a:solidFill>
                <a:latin typeface="+mn-lt"/>
              </a:rPr>
            </a:br>
            <a:endParaRPr lang="en-US" sz="2800" i="1" kern="0" dirty="0">
              <a:solidFill>
                <a:srgbClr val="003366"/>
              </a:solidFill>
              <a:latin typeface="Calibri" pitchFamily="34" charset="0"/>
              <a:ea typeface="ＭＳ Ｐゴシック" pitchFamily="34" charset="-128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2" name="Rectangle 5"/>
          <p:cNvSpPr>
            <a:spLocks noChangeArrowheads="1"/>
          </p:cNvSpPr>
          <p:nvPr/>
        </p:nvSpPr>
        <p:spPr bwMode="auto">
          <a:xfrm>
            <a:off x="684213" y="1628775"/>
            <a:ext cx="7773987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40963" name="Line 6"/>
          <p:cNvSpPr>
            <a:spLocks noChangeShapeType="1"/>
          </p:cNvSpPr>
          <p:nvPr/>
        </p:nvSpPr>
        <p:spPr bwMode="auto">
          <a:xfrm>
            <a:off x="611188" y="10525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40964" name="Rectangle 7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40965" name="Rectangle 4"/>
          <p:cNvSpPr>
            <a:spLocks noChangeArrowheads="1"/>
          </p:cNvSpPr>
          <p:nvPr/>
        </p:nvSpPr>
        <p:spPr bwMode="auto">
          <a:xfrm>
            <a:off x="998538" y="188913"/>
            <a:ext cx="7146925" cy="60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b"/>
          <a:lstStyle/>
          <a:p>
            <a:pPr algn="ctr"/>
            <a:r>
              <a:rPr lang="ca-ES" sz="2000" b="1" i="1">
                <a:solidFill>
                  <a:srgbClr val="003366"/>
                </a:solidFill>
                <a:latin typeface="Calibri" pitchFamily="34" charset="0"/>
              </a:rPr>
              <a:t>Helados para la dieta</a:t>
            </a:r>
          </a:p>
        </p:txBody>
      </p:sp>
      <p:grpSp>
        <p:nvGrpSpPr>
          <p:cNvPr id="40966" name="Group 3"/>
          <p:cNvGrpSpPr>
            <a:grpSpLocks/>
          </p:cNvGrpSpPr>
          <p:nvPr/>
        </p:nvGrpSpPr>
        <p:grpSpPr bwMode="auto">
          <a:xfrm>
            <a:off x="250825" y="1268413"/>
            <a:ext cx="8785225" cy="3330575"/>
            <a:chOff x="158" y="1026"/>
            <a:chExt cx="5534" cy="2098"/>
          </a:xfrm>
        </p:grpSpPr>
        <p:pic>
          <p:nvPicPr>
            <p:cNvPr id="40969" name="Picture 4" descr="demuestra-helados-mejoran-calidad-enfermos_TINIMA20120425_0447_5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58" y="1026"/>
              <a:ext cx="3312" cy="20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970" name="Picture 5" descr="helado_6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515" y="1026"/>
              <a:ext cx="2177" cy="20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0967" name="Rectangle 2"/>
          <p:cNvSpPr txBox="1">
            <a:spLocks noChangeArrowheads="1"/>
          </p:cNvSpPr>
          <p:nvPr/>
        </p:nvSpPr>
        <p:spPr bwMode="auto">
          <a:xfrm>
            <a:off x="611188" y="4724400"/>
            <a:ext cx="7993062" cy="115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>
              <a:spcBef>
                <a:spcPct val="20000"/>
              </a:spcBef>
            </a:pPr>
            <a:r>
              <a:rPr lang="es-ES" b="1">
                <a:solidFill>
                  <a:srgbClr val="003366"/>
                </a:solidFill>
                <a:latin typeface="Calibri" pitchFamily="34" charset="0"/>
              </a:rPr>
              <a:t>Incluir helados en la dieta de enfermos de cáncer mejoró su calidad de vida</a:t>
            </a:r>
          </a:p>
          <a:p>
            <a:pPr algn="ctr">
              <a:spcBef>
                <a:spcPct val="20000"/>
              </a:spcBef>
            </a:pPr>
            <a:r>
              <a:rPr lang="es-ES" b="1">
                <a:solidFill>
                  <a:srgbClr val="003366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40968" name="Rectangle 6"/>
          <p:cNvSpPr>
            <a:spLocks noChangeArrowheads="1"/>
          </p:cNvSpPr>
          <p:nvPr/>
        </p:nvSpPr>
        <p:spPr bwMode="auto">
          <a:xfrm>
            <a:off x="323850" y="5494338"/>
            <a:ext cx="8569325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 algn="just">
              <a:lnSpc>
                <a:spcPct val="80000"/>
              </a:lnSpc>
            </a:pPr>
            <a:r>
              <a:rPr lang="es-ES">
                <a:solidFill>
                  <a:srgbClr val="003366"/>
                </a:solidFill>
                <a:latin typeface="Calibri" pitchFamily="34" charset="0"/>
              </a:rPr>
              <a:t>Un estudio realizado en los hospitales de Sabadell y Terrassa determina que proporcionar helado a los enfermos de las unidades de oncología resulta beneficioso para su salud y su estado de ánimo. </a:t>
            </a:r>
            <a:r>
              <a:rPr lang="es-ES" i="1">
                <a:solidFill>
                  <a:srgbClr val="003366"/>
                </a:solidFill>
                <a:latin typeface="Calibri" pitchFamily="34" charset="0"/>
              </a:rPr>
              <a:t>Clinical and Traslational Oncology 2012 </a:t>
            </a:r>
          </a:p>
          <a:p>
            <a:pPr algn="just">
              <a:lnSpc>
                <a:spcPct val="80000"/>
              </a:lnSpc>
            </a:pPr>
            <a:endParaRPr lang="es-ES" i="1">
              <a:solidFill>
                <a:srgbClr val="003366"/>
              </a:solidFill>
              <a:latin typeface="Calibri" pitchFamily="34" charset="0"/>
            </a:endParaRPr>
          </a:p>
          <a:p>
            <a:pPr algn="just">
              <a:lnSpc>
                <a:spcPct val="80000"/>
              </a:lnSpc>
            </a:pPr>
            <a:r>
              <a:rPr lang="es-ES" i="1">
                <a:solidFill>
                  <a:srgbClr val="003366"/>
                </a:solidFill>
                <a:latin typeface="Calibri" pitchFamily="34" charset="0"/>
              </a:rPr>
              <a:t>Angelo Corvitto «Los secretos del helado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</p:txBody>
      </p:sp>
      <p:sp>
        <p:nvSpPr>
          <p:cNvPr id="43011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</p:txBody>
      </p:sp>
      <p:sp>
        <p:nvSpPr>
          <p:cNvPr id="43012" name="Line 5"/>
          <p:cNvSpPr>
            <a:spLocks noChangeShapeType="1"/>
          </p:cNvSpPr>
          <p:nvPr/>
        </p:nvSpPr>
        <p:spPr bwMode="auto">
          <a:xfrm>
            <a:off x="603250" y="620713"/>
            <a:ext cx="7697788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43013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43014" name="2 Marcador de contenido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marL="341313" indent="-341313">
              <a:spcBef>
                <a:spcPct val="20000"/>
              </a:spcBef>
              <a:buFontTx/>
              <a:buChar char="•"/>
            </a:pPr>
            <a:endParaRPr lang="ca-ES">
              <a:solidFill>
                <a:srgbClr val="000000"/>
              </a:solidFill>
              <a:latin typeface="Times" pitchFamily="18" charset="0"/>
              <a:ea typeface="Arial Unicode MS" pitchFamily="34" charset="-128"/>
            </a:endParaRPr>
          </a:p>
        </p:txBody>
      </p:sp>
      <p:grpSp>
        <p:nvGrpSpPr>
          <p:cNvPr id="43015" name="Group 2"/>
          <p:cNvGrpSpPr>
            <a:grpSpLocks/>
          </p:cNvGrpSpPr>
          <p:nvPr/>
        </p:nvGrpSpPr>
        <p:grpSpPr bwMode="auto">
          <a:xfrm>
            <a:off x="179388" y="692150"/>
            <a:ext cx="6407150" cy="4176713"/>
            <a:chOff x="158" y="184"/>
            <a:chExt cx="5579" cy="4017"/>
          </a:xfrm>
        </p:grpSpPr>
        <p:pic>
          <p:nvPicPr>
            <p:cNvPr id="43028" name="Picture 3" descr="Ambulancia-01"/>
            <p:cNvPicPr>
              <a:picLocks noChangeAspect="1" noChangeArrowheads="1"/>
            </p:cNvPicPr>
            <p:nvPr/>
          </p:nvPicPr>
          <p:blipFill>
            <a:blip r:embed="rId4">
              <a:lum bright="70000" contrast="-70000"/>
            </a:blip>
            <a:srcRect/>
            <a:stretch>
              <a:fillRect/>
            </a:stretch>
          </p:blipFill>
          <p:spPr bwMode="auto">
            <a:xfrm>
              <a:off x="158" y="209"/>
              <a:ext cx="5353" cy="3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29" name="Picture 4" descr="img?s=MLV&amp;f=12605302_9763"/>
            <p:cNvPicPr>
              <a:picLocks noChangeAspect="1" noChangeArrowheads="1"/>
            </p:cNvPicPr>
            <p:nvPr/>
          </p:nvPicPr>
          <p:blipFill>
            <a:blip r:embed="rId5"/>
            <a:srcRect l="14880" t="33809" r="22977"/>
            <a:stretch>
              <a:fillRect/>
            </a:stretch>
          </p:blipFill>
          <p:spPr bwMode="auto">
            <a:xfrm>
              <a:off x="3107" y="186"/>
              <a:ext cx="1044" cy="1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30" name="Picture 5" descr="camara_axis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 rot="2172519">
              <a:off x="340" y="1298"/>
              <a:ext cx="730" cy="9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31" name="Picture 6" descr="ivl-oksilog3000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332" y="184"/>
              <a:ext cx="1263" cy="10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32" name="Picture 7" descr="lantronix_ubox2100_i1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787" y="1389"/>
              <a:ext cx="1002" cy="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033" name="Line 8"/>
            <p:cNvSpPr>
              <a:spLocks noChangeShapeType="1"/>
            </p:cNvSpPr>
            <p:nvPr/>
          </p:nvSpPr>
          <p:spPr bwMode="auto">
            <a:xfrm>
              <a:off x="3878" y="1071"/>
              <a:ext cx="227" cy="45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43034" name="Line 9"/>
            <p:cNvSpPr>
              <a:spLocks noChangeShapeType="1"/>
            </p:cNvSpPr>
            <p:nvPr/>
          </p:nvSpPr>
          <p:spPr bwMode="auto">
            <a:xfrm flipH="1">
              <a:off x="4468" y="1117"/>
              <a:ext cx="408" cy="4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pic>
          <p:nvPicPr>
            <p:cNvPr id="43035" name="Picture 10" descr="CBY-0755J"/>
            <p:cNvPicPr>
              <a:picLocks noChangeAspect="1" noChangeArrowheads="1"/>
            </p:cNvPicPr>
            <p:nvPr/>
          </p:nvPicPr>
          <p:blipFill>
            <a:blip r:embed="rId9"/>
            <a:srcRect t="12807" r="3741" b="10358"/>
            <a:stretch>
              <a:fillRect/>
            </a:stretch>
          </p:blipFill>
          <p:spPr bwMode="auto">
            <a:xfrm>
              <a:off x="2426" y="2976"/>
              <a:ext cx="1315" cy="6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36" name="Picture 11" descr="182590d1238984663-cachina-todoautos-modem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4377" y="3113"/>
              <a:ext cx="1157" cy="1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037" name="Line 12"/>
            <p:cNvSpPr>
              <a:spLocks noChangeShapeType="1"/>
            </p:cNvSpPr>
            <p:nvPr/>
          </p:nvSpPr>
          <p:spPr bwMode="auto">
            <a:xfrm>
              <a:off x="930" y="2115"/>
              <a:ext cx="1995" cy="95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43038" name="Line 13"/>
            <p:cNvSpPr>
              <a:spLocks noChangeShapeType="1"/>
            </p:cNvSpPr>
            <p:nvPr/>
          </p:nvSpPr>
          <p:spPr bwMode="auto">
            <a:xfrm flipH="1">
              <a:off x="3152" y="2024"/>
              <a:ext cx="1043" cy="9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43039" name="Line 14"/>
            <p:cNvSpPr>
              <a:spLocks noChangeShapeType="1"/>
            </p:cNvSpPr>
            <p:nvPr/>
          </p:nvSpPr>
          <p:spPr bwMode="auto">
            <a:xfrm>
              <a:off x="2426" y="2024"/>
              <a:ext cx="635" cy="99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s-ES"/>
            </a:p>
          </p:txBody>
        </p:sp>
        <p:pic>
          <p:nvPicPr>
            <p:cNvPr id="43040" name="Picture 15" descr="tablet-pc-robusta-164372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1791" y="1298"/>
              <a:ext cx="1095" cy="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041" name="Line 16"/>
            <p:cNvSpPr>
              <a:spLocks noChangeShapeType="1"/>
            </p:cNvSpPr>
            <p:nvPr/>
          </p:nvSpPr>
          <p:spPr bwMode="auto">
            <a:xfrm>
              <a:off x="3243" y="3430"/>
              <a:ext cx="1315" cy="27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43042" name="Oval 17"/>
            <p:cNvSpPr>
              <a:spLocks noChangeArrowheads="1"/>
            </p:cNvSpPr>
            <p:nvPr/>
          </p:nvSpPr>
          <p:spPr bwMode="auto">
            <a:xfrm>
              <a:off x="4921" y="2886"/>
              <a:ext cx="726" cy="408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>
                <a:ea typeface="Arial Unicode MS" pitchFamily="34" charset="-128"/>
              </a:endParaRPr>
            </a:p>
          </p:txBody>
        </p:sp>
        <p:sp>
          <p:nvSpPr>
            <p:cNvPr id="43043" name="Oval 18"/>
            <p:cNvSpPr>
              <a:spLocks noChangeArrowheads="1"/>
            </p:cNvSpPr>
            <p:nvPr/>
          </p:nvSpPr>
          <p:spPr bwMode="auto">
            <a:xfrm>
              <a:off x="4830" y="2840"/>
              <a:ext cx="907" cy="499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>
                <a:ea typeface="Arial Unicode MS" pitchFamily="34" charset="-128"/>
              </a:endParaRPr>
            </a:p>
          </p:txBody>
        </p:sp>
      </p:grpSp>
      <p:grpSp>
        <p:nvGrpSpPr>
          <p:cNvPr id="43016" name="Group 20"/>
          <p:cNvGrpSpPr>
            <a:grpSpLocks/>
          </p:cNvGrpSpPr>
          <p:nvPr/>
        </p:nvGrpSpPr>
        <p:grpSpPr bwMode="auto">
          <a:xfrm>
            <a:off x="3924300" y="2492375"/>
            <a:ext cx="4968875" cy="4292600"/>
            <a:chOff x="2517" y="1616"/>
            <a:chExt cx="3130" cy="2704"/>
          </a:xfrm>
        </p:grpSpPr>
        <p:sp>
          <p:nvSpPr>
            <p:cNvPr id="43018" name="Rectangle 21"/>
            <p:cNvSpPr>
              <a:spLocks noChangeArrowheads="1"/>
            </p:cNvSpPr>
            <p:nvPr/>
          </p:nvSpPr>
          <p:spPr bwMode="auto">
            <a:xfrm>
              <a:off x="4241" y="1616"/>
              <a:ext cx="1406" cy="145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>
                <a:ea typeface="Arial Unicode MS" pitchFamily="34" charset="-128"/>
              </a:endParaRPr>
            </a:p>
          </p:txBody>
        </p:sp>
        <p:sp>
          <p:nvSpPr>
            <p:cNvPr id="43019" name="Rectangle 22"/>
            <p:cNvSpPr>
              <a:spLocks noChangeArrowheads="1"/>
            </p:cNvSpPr>
            <p:nvPr/>
          </p:nvSpPr>
          <p:spPr bwMode="auto">
            <a:xfrm>
              <a:off x="2517" y="3067"/>
              <a:ext cx="3130" cy="125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>
                <a:ea typeface="Arial Unicode MS" pitchFamily="34" charset="-128"/>
              </a:endParaRPr>
            </a:p>
          </p:txBody>
        </p:sp>
        <p:grpSp>
          <p:nvGrpSpPr>
            <p:cNvPr id="43020" name="Group 23"/>
            <p:cNvGrpSpPr>
              <a:grpSpLocks/>
            </p:cNvGrpSpPr>
            <p:nvPr/>
          </p:nvGrpSpPr>
          <p:grpSpPr bwMode="auto">
            <a:xfrm>
              <a:off x="4195" y="3022"/>
              <a:ext cx="1361" cy="1187"/>
              <a:chOff x="181" y="0"/>
              <a:chExt cx="5375" cy="4300"/>
            </a:xfrm>
          </p:grpSpPr>
          <p:grpSp>
            <p:nvGrpSpPr>
              <p:cNvPr id="43023" name="Group 24"/>
              <p:cNvGrpSpPr>
                <a:grpSpLocks/>
              </p:cNvGrpSpPr>
              <p:nvPr/>
            </p:nvGrpSpPr>
            <p:grpSpPr bwMode="auto">
              <a:xfrm>
                <a:off x="181" y="0"/>
                <a:ext cx="5375" cy="4300"/>
                <a:chOff x="181" y="0"/>
                <a:chExt cx="5375" cy="4300"/>
              </a:xfrm>
            </p:grpSpPr>
            <p:pic>
              <p:nvPicPr>
                <p:cNvPr id="43026" name="36 Imagen" descr="1.bmp"/>
                <p:cNvPicPr>
                  <a:picLocks noChangeAspect="1" noChangeArrowheads="1"/>
                </p:cNvPicPr>
                <p:nvPr/>
              </p:nvPicPr>
              <p:blipFill>
                <a:blip r:embed="rId12"/>
                <a:srcRect l="5170" r="2585" b="6776"/>
                <a:stretch>
                  <a:fillRect/>
                </a:stretch>
              </p:blipFill>
              <p:spPr bwMode="auto">
                <a:xfrm>
                  <a:off x="181" y="0"/>
                  <a:ext cx="5375" cy="43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43027" name="Oval 26"/>
                <p:cNvSpPr>
                  <a:spLocks noChangeArrowheads="1"/>
                </p:cNvSpPr>
                <p:nvPr/>
              </p:nvSpPr>
              <p:spPr bwMode="auto">
                <a:xfrm>
                  <a:off x="4793" y="935"/>
                  <a:ext cx="227" cy="227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ca-ES">
                    <a:ea typeface="Arial Unicode MS" pitchFamily="34" charset="-128"/>
                  </a:endParaRPr>
                </a:p>
              </p:txBody>
            </p:sp>
          </p:grpSp>
          <p:sp>
            <p:nvSpPr>
              <p:cNvPr id="43024" name="Rectangle 27"/>
              <p:cNvSpPr>
                <a:spLocks noChangeArrowheads="1"/>
              </p:cNvSpPr>
              <p:nvPr/>
            </p:nvSpPr>
            <p:spPr bwMode="auto">
              <a:xfrm>
                <a:off x="2835" y="391"/>
                <a:ext cx="136" cy="136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ca-ES">
                  <a:ea typeface="Arial Unicode MS" pitchFamily="34" charset="-128"/>
                </a:endParaRPr>
              </a:p>
            </p:txBody>
          </p:sp>
          <p:sp>
            <p:nvSpPr>
              <p:cNvPr id="43025" name="Rectangle 28"/>
              <p:cNvSpPr>
                <a:spLocks noChangeArrowheads="1"/>
              </p:cNvSpPr>
              <p:nvPr/>
            </p:nvSpPr>
            <p:spPr bwMode="auto">
              <a:xfrm>
                <a:off x="4830" y="300"/>
                <a:ext cx="136" cy="136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ca-ES">
                  <a:ea typeface="Arial Unicode MS" pitchFamily="34" charset="-128"/>
                </a:endParaRPr>
              </a:p>
            </p:txBody>
          </p:sp>
        </p:grpSp>
        <p:pic>
          <p:nvPicPr>
            <p:cNvPr id="43021" name="Picture 29"/>
            <p:cNvPicPr>
              <a:picLocks noChangeAspect="1" noChangeArrowheads="1"/>
            </p:cNvPicPr>
            <p:nvPr/>
          </p:nvPicPr>
          <p:blipFill>
            <a:blip r:embed="rId13"/>
            <a:srcRect l="41341" t="27396" r="26172" b="22520"/>
            <a:stretch>
              <a:fillRect/>
            </a:stretch>
          </p:blipFill>
          <p:spPr bwMode="auto">
            <a:xfrm>
              <a:off x="4377" y="1888"/>
              <a:ext cx="1179" cy="1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022" name="Picture 30"/>
            <p:cNvPicPr>
              <a:picLocks noChangeAspect="1" noChangeArrowheads="1"/>
            </p:cNvPicPr>
            <p:nvPr/>
          </p:nvPicPr>
          <p:blipFill>
            <a:blip r:embed="rId14"/>
            <a:srcRect l="15681" t="24100" r="46550" b="36797"/>
            <a:stretch>
              <a:fillRect/>
            </a:stretch>
          </p:blipFill>
          <p:spPr bwMode="auto">
            <a:xfrm>
              <a:off x="2562" y="3249"/>
              <a:ext cx="1492" cy="965"/>
            </a:xfrm>
            <a:prstGeom prst="rect">
              <a:avLst/>
            </a:prstGeom>
            <a:noFill/>
            <a:ln w="50800">
              <a:noFill/>
              <a:miter lim="800000"/>
              <a:headEnd/>
              <a:tailEnd/>
            </a:ln>
          </p:spPr>
        </p:pic>
      </p:grpSp>
      <p:sp>
        <p:nvSpPr>
          <p:cNvPr id="43017" name="Rectangle 3"/>
          <p:cNvSpPr>
            <a:spLocks noGrp="1" noChangeArrowheads="1"/>
          </p:cNvSpPr>
          <p:nvPr>
            <p:ph type="title"/>
          </p:nvPr>
        </p:nvSpPr>
        <p:spPr>
          <a:xfrm>
            <a:off x="971550" y="115888"/>
            <a:ext cx="7859713" cy="854075"/>
          </a:xfrm>
        </p:spPr>
        <p:txBody>
          <a:bodyPr/>
          <a:lstStyle/>
          <a:p>
            <a:r>
              <a:rPr lang="ca-ES" sz="2000" b="1" i="1" smtClean="0">
                <a:solidFill>
                  <a:srgbClr val="003366"/>
                </a:solidFill>
                <a:latin typeface="Calibri" pitchFamily="34" charset="0"/>
              </a:rPr>
              <a:t>Integración de fuentes de información</a:t>
            </a:r>
            <a:br>
              <a:rPr lang="ca-ES" sz="2000" b="1" i="1" smtClean="0">
                <a:solidFill>
                  <a:srgbClr val="003366"/>
                </a:solidFill>
                <a:latin typeface="Calibri" pitchFamily="34" charset="0"/>
              </a:rPr>
            </a:br>
            <a:endParaRPr lang="es-ES" sz="2000" smtClean="0">
              <a:solidFill>
                <a:srgbClr val="00336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5" name="think-cell Slide" r:id="rId5" imgW="360" imgH="360" progId="">
              <p:embed/>
            </p:oleObj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>
              <a:sym typeface="Arial"/>
            </a:endParaRPr>
          </a:p>
        </p:txBody>
      </p:sp>
      <p:pic>
        <p:nvPicPr>
          <p:cNvPr id="3077" name="Picture 1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Imagen 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17638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9" name="Slide Number Placeholder 9"/>
          <p:cNvSpPr>
            <a:spLocks/>
          </p:cNvSpPr>
          <p:nvPr/>
        </p:nvSpPr>
        <p:spPr bwMode="auto">
          <a:xfrm>
            <a:off x="8505825" y="6496050"/>
            <a:ext cx="282575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075"/>
              </a:lnSpc>
            </a:pPr>
            <a:fld id="{49EED4FD-4F0B-457C-AC95-D6F29FCE758A}" type="slidenum">
              <a:rPr lang="es-ES" sz="900" b="1">
                <a:solidFill>
                  <a:srgbClr val="002776"/>
                </a:solidFill>
                <a:ea typeface="Arial Unicode MS" pitchFamily="34" charset="-128"/>
              </a:rPr>
              <a:pPr>
                <a:lnSpc>
                  <a:spcPts val="1075"/>
                </a:lnSpc>
              </a:pPr>
              <a:t>12</a:t>
            </a:fld>
            <a:endParaRPr lang="es-ES" sz="900" b="1">
              <a:solidFill>
                <a:srgbClr val="002776"/>
              </a:solidFill>
              <a:ea typeface="Arial Unicode MS" pitchFamily="34" charset="-128"/>
            </a:endParaRPr>
          </a:p>
        </p:txBody>
      </p:sp>
      <p:pic>
        <p:nvPicPr>
          <p:cNvPr id="3080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995988" y="3875088"/>
            <a:ext cx="2554287" cy="189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1" name="Text Box 6"/>
          <p:cNvSpPr txBox="1">
            <a:spLocks noChangeArrowheads="1"/>
          </p:cNvSpPr>
          <p:nvPr/>
        </p:nvSpPr>
        <p:spPr bwMode="auto">
          <a:xfrm>
            <a:off x="330200" y="3683000"/>
            <a:ext cx="5357813" cy="216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algn="just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§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Identificació d’ àmbits preferents per la innovació:</a:t>
            </a:r>
          </a:p>
          <a:p>
            <a:pPr marL="739775" lvl="1" indent="-285750" algn="just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ü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Àmbit del medicament, la farmàcia i la prestació farmacèutica</a:t>
            </a:r>
          </a:p>
          <a:p>
            <a:pPr marL="739775" lvl="1" indent="-285750" algn="just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ü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Àmbit de les tecnologies de la informació i la comunicació (TIC)</a:t>
            </a:r>
          </a:p>
          <a:p>
            <a:pPr marL="739775" lvl="1" indent="-285750" algn="just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ü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Àmbit de la contractació de serveis sanitaris</a:t>
            </a:r>
          </a:p>
        </p:txBody>
      </p:sp>
      <p:sp>
        <p:nvSpPr>
          <p:cNvPr id="2" name="Rectangle 1"/>
          <p:cNvSpPr/>
          <p:nvPr/>
        </p:nvSpPr>
        <p:spPr>
          <a:xfrm>
            <a:off x="266700" y="1190625"/>
            <a:ext cx="8521700" cy="1016000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</p:spPr>
        <p:txBody>
          <a:bodyPr>
            <a:spAutoFit/>
          </a:bodyPr>
          <a:lstStyle/>
          <a:p>
            <a:pPr algn="just" defTabSz="914021"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defRPr/>
            </a:pPr>
            <a:r>
              <a:rPr lang="ca-ES" b="1" dirty="0">
                <a:solidFill>
                  <a:srgbClr val="003366"/>
                </a:solidFill>
                <a:latin typeface="+mn-lt"/>
              </a:rPr>
              <a:t>Creació per part del Servei Català de la Salut, amb el recolzament de </a:t>
            </a:r>
            <a:r>
              <a:rPr lang="ca-ES" b="1" dirty="0" err="1">
                <a:solidFill>
                  <a:srgbClr val="003366"/>
                </a:solidFill>
                <a:latin typeface="+mn-lt"/>
              </a:rPr>
              <a:t>l’AQuAS</a:t>
            </a:r>
            <a:r>
              <a:rPr lang="ca-ES" b="1" dirty="0">
                <a:solidFill>
                  <a:srgbClr val="003366"/>
                </a:solidFill>
                <a:latin typeface="+mn-lt"/>
              </a:rPr>
              <a:t>, de </a:t>
            </a:r>
            <a:r>
              <a:rPr lang="ca-ES" b="1" i="1" dirty="0">
                <a:solidFill>
                  <a:srgbClr val="003366"/>
                </a:solidFill>
                <a:latin typeface="+mn-lt"/>
              </a:rPr>
              <a:t>Models innovadores en l’ adopció i avaluació d’ instruments per la millora de la eficiència en la prestació de serveis sanitaris. </a:t>
            </a:r>
            <a:endParaRPr lang="ca-ES" b="1" dirty="0">
              <a:solidFill>
                <a:srgbClr val="003366"/>
              </a:solidFill>
              <a:latin typeface="+mn-lt"/>
            </a:endParaRPr>
          </a:p>
        </p:txBody>
      </p:sp>
      <p:sp>
        <p:nvSpPr>
          <p:cNvPr id="3083" name="Rectangle 3"/>
          <p:cNvSpPr>
            <a:spLocks noChangeArrowheads="1"/>
          </p:cNvSpPr>
          <p:nvPr/>
        </p:nvSpPr>
        <p:spPr bwMode="auto">
          <a:xfrm>
            <a:off x="338138" y="2522538"/>
            <a:ext cx="8562975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§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Els proveïdors del SISCAT presenten iniciatives per a  desenvolupar innovacions de producte, procés i organització.</a:t>
            </a:r>
          </a:p>
          <a:p>
            <a:pPr marL="285750" indent="-285750">
              <a:lnSpc>
                <a:spcPts val="2700"/>
              </a:lnSpc>
              <a:buClr>
                <a:srgbClr val="003366"/>
              </a:buClr>
              <a:buFont typeface="Wingdings" pitchFamily="2" charset="2"/>
              <a:buChar char="§"/>
            </a:pPr>
            <a:r>
              <a:rPr lang="ca-ES" sz="1600">
                <a:solidFill>
                  <a:srgbClr val="003366"/>
                </a:solidFill>
                <a:ea typeface="Arial Unicode MS" pitchFamily="34" charset="-128"/>
              </a:rPr>
              <a:t>L’ AQuAS avalua la proposta i participa en el disseny  i  desenvolupament</a:t>
            </a:r>
            <a:r>
              <a:rPr lang="es-ES" sz="1600">
                <a:solidFill>
                  <a:srgbClr val="003366"/>
                </a:solidFill>
                <a:ea typeface="Arial Unicode MS" pitchFamily="34" charset="-128"/>
              </a:rPr>
              <a:t>.</a:t>
            </a:r>
          </a:p>
        </p:txBody>
      </p:sp>
      <p:sp>
        <p:nvSpPr>
          <p:cNvPr id="3084" name="Line 5"/>
          <p:cNvSpPr>
            <a:spLocks noChangeShapeType="1"/>
          </p:cNvSpPr>
          <p:nvPr/>
        </p:nvSpPr>
        <p:spPr bwMode="auto">
          <a:xfrm>
            <a:off x="611188" y="765175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3085" name="Rectangle 8"/>
          <p:cNvSpPr>
            <a:spLocks noChangeArrowheads="1"/>
          </p:cNvSpPr>
          <p:nvPr/>
        </p:nvSpPr>
        <p:spPr bwMode="auto">
          <a:xfrm>
            <a:off x="1116013" y="0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defTabSz="911225"/>
            <a:r>
              <a:rPr lang="es-ES" sz="2000" b="1" i="1">
                <a:solidFill>
                  <a:srgbClr val="3D4869"/>
                </a:solidFill>
                <a:latin typeface="Calibri" pitchFamily="34" charset="0"/>
                <a:ea typeface="Arial Unicode MS" pitchFamily="34" charset="-128"/>
              </a:rPr>
              <a:t>La millora de serveis sanitaris mitjançant  la innovació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2988" y="1268413"/>
            <a:ext cx="7305675" cy="439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106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43663" y="2060575"/>
            <a:ext cx="2554287" cy="189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8 Conector recto de flecha"/>
          <p:cNvCxnSpPr/>
          <p:nvPr/>
        </p:nvCxnSpPr>
        <p:spPr>
          <a:xfrm flipH="1">
            <a:off x="3876675" y="2606675"/>
            <a:ext cx="1663700" cy="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108" name="Rectangle 8"/>
          <p:cNvSpPr>
            <a:spLocks noChangeArrowheads="1"/>
          </p:cNvSpPr>
          <p:nvPr/>
        </p:nvSpPr>
        <p:spPr bwMode="auto">
          <a:xfrm>
            <a:off x="1116013" y="0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b"/>
          <a:lstStyle/>
          <a:p>
            <a:pPr defTabSz="911225"/>
            <a:r>
              <a:rPr lang="es-ES" sz="2000" b="1" i="1">
                <a:solidFill>
                  <a:srgbClr val="3D4869"/>
                </a:solidFill>
                <a:latin typeface="Calibri" pitchFamily="34" charset="0"/>
                <a:ea typeface="Arial Unicode MS" pitchFamily="34" charset="-128"/>
              </a:rPr>
              <a:t>La millora de serveis sanitaris mitjançant  la innovació</a:t>
            </a:r>
          </a:p>
        </p:txBody>
      </p:sp>
      <p:sp>
        <p:nvSpPr>
          <p:cNvPr id="47109" name="Line 5"/>
          <p:cNvSpPr>
            <a:spLocks noChangeShapeType="1"/>
          </p:cNvSpPr>
          <p:nvPr/>
        </p:nvSpPr>
        <p:spPr bwMode="auto">
          <a:xfrm>
            <a:off x="611188" y="765175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2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</p:txBody>
      </p:sp>
      <p:sp>
        <p:nvSpPr>
          <p:cNvPr id="48131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/>
          <a:lstStyle/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latin typeface="Helvetica Bold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48132" name="Line 5"/>
          <p:cNvSpPr>
            <a:spLocks noChangeShapeType="1"/>
          </p:cNvSpPr>
          <p:nvPr/>
        </p:nvSpPr>
        <p:spPr bwMode="auto">
          <a:xfrm>
            <a:off x="611188" y="10525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48133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48134" name="4 Marcador de contenido"/>
          <p:cNvSpPr txBox="1">
            <a:spLocks/>
          </p:cNvSpPr>
          <p:nvPr/>
        </p:nvSpPr>
        <p:spPr bwMode="auto">
          <a:xfrm>
            <a:off x="431800" y="1628775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És una actuació administrativa de foment de la innovació orientada a potenciar el desenvolupament de nous mercats innovadors des del costat de la demanda mitjançant l’ instrument de la contractació pública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>
              <a:spcBef>
                <a:spcPct val="20000"/>
              </a:spcBef>
              <a:buFont typeface="Arial" charset="0"/>
              <a:buNone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Objectius:</a:t>
            </a:r>
          </a:p>
          <a:p>
            <a:pPr>
              <a:spcBef>
                <a:spcPct val="20000"/>
              </a:spcBef>
              <a:buFont typeface="Arial" charset="0"/>
              <a:buNone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>
              <a:spcBef>
                <a:spcPct val="20000"/>
              </a:spcBef>
              <a:buFont typeface="Arial" charset="0"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Millora dels serveis públics mitjançant la incorporació de bens i /o serveis innovadors</a:t>
            </a:r>
          </a:p>
          <a:p>
            <a:pPr>
              <a:spcBef>
                <a:spcPct val="20000"/>
              </a:spcBef>
              <a:buFont typeface="Arial" charset="0"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oment de la innovació empresarial</a:t>
            </a:r>
          </a:p>
          <a:p>
            <a:pPr>
              <a:spcBef>
                <a:spcPct val="20000"/>
              </a:spcBef>
              <a:buFont typeface="Arial" charset="0"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mpuls a la internacionalització de la innovació utilitzant el mercat públic local com client de llançament o de referència.</a:t>
            </a:r>
          </a:p>
        </p:txBody>
      </p:sp>
      <p:sp>
        <p:nvSpPr>
          <p:cNvPr id="48135" name="3 Título"/>
          <p:cNvSpPr txBox="1">
            <a:spLocks/>
          </p:cNvSpPr>
          <p:nvPr/>
        </p:nvSpPr>
        <p:spPr bwMode="auto">
          <a:xfrm>
            <a:off x="431800" y="333375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pra Pública d’innovació (CPI,PPI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Line 5"/>
          <p:cNvSpPr>
            <a:spLocks noChangeShapeType="1"/>
          </p:cNvSpPr>
          <p:nvPr/>
        </p:nvSpPr>
        <p:spPr bwMode="auto">
          <a:xfrm>
            <a:off x="611188" y="10525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50178" name="Line 4"/>
          <p:cNvSpPr>
            <a:spLocks noChangeShapeType="1"/>
          </p:cNvSpPr>
          <p:nvPr/>
        </p:nvSpPr>
        <p:spPr bwMode="auto">
          <a:xfrm>
            <a:off x="1403350" y="5445125"/>
            <a:ext cx="6840538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50179" name="Line 5"/>
          <p:cNvSpPr>
            <a:spLocks noChangeShapeType="1"/>
          </p:cNvSpPr>
          <p:nvPr/>
        </p:nvSpPr>
        <p:spPr bwMode="auto">
          <a:xfrm flipV="1">
            <a:off x="1403350" y="1628775"/>
            <a:ext cx="0" cy="381635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50180" name="Text Box 6"/>
          <p:cNvSpPr txBox="1">
            <a:spLocks noChangeArrowheads="1"/>
          </p:cNvSpPr>
          <p:nvPr/>
        </p:nvSpPr>
        <p:spPr bwMode="auto">
          <a:xfrm>
            <a:off x="0" y="1341438"/>
            <a:ext cx="14144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Grau d’innovació</a:t>
            </a:r>
          </a:p>
        </p:txBody>
      </p:sp>
      <p:sp>
        <p:nvSpPr>
          <p:cNvPr id="50181" name="Text Box 7"/>
          <p:cNvSpPr txBox="1">
            <a:spLocks noChangeArrowheads="1"/>
          </p:cNvSpPr>
          <p:nvPr/>
        </p:nvSpPr>
        <p:spPr bwMode="auto">
          <a:xfrm>
            <a:off x="8101013" y="5594350"/>
            <a:ext cx="739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Termini</a:t>
            </a:r>
          </a:p>
        </p:txBody>
      </p:sp>
      <p:sp>
        <p:nvSpPr>
          <p:cNvPr id="50182" name="Text Box 8"/>
          <p:cNvSpPr txBox="1">
            <a:spLocks noChangeArrowheads="1"/>
          </p:cNvSpPr>
          <p:nvPr/>
        </p:nvSpPr>
        <p:spPr bwMode="auto">
          <a:xfrm>
            <a:off x="1403350" y="5665788"/>
            <a:ext cx="4953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urt</a:t>
            </a:r>
          </a:p>
        </p:txBody>
      </p:sp>
      <p:sp>
        <p:nvSpPr>
          <p:cNvPr id="50183" name="Text Box 9"/>
          <p:cNvSpPr txBox="1">
            <a:spLocks noChangeArrowheads="1"/>
          </p:cNvSpPr>
          <p:nvPr/>
        </p:nvSpPr>
        <p:spPr bwMode="auto">
          <a:xfrm>
            <a:off x="4716463" y="5665788"/>
            <a:ext cx="4619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Mig</a:t>
            </a:r>
          </a:p>
        </p:txBody>
      </p:sp>
      <p:sp>
        <p:nvSpPr>
          <p:cNvPr id="50184" name="Text Box 10"/>
          <p:cNvSpPr txBox="1">
            <a:spLocks noChangeArrowheads="1"/>
          </p:cNvSpPr>
          <p:nvPr/>
        </p:nvSpPr>
        <p:spPr bwMode="auto">
          <a:xfrm>
            <a:off x="7451725" y="5665788"/>
            <a:ext cx="565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LLarg</a:t>
            </a:r>
          </a:p>
        </p:txBody>
      </p:sp>
      <p:sp>
        <p:nvSpPr>
          <p:cNvPr id="50185" name="Text Box 11"/>
          <p:cNvSpPr txBox="1">
            <a:spLocks noChangeArrowheads="1"/>
          </p:cNvSpPr>
          <p:nvPr/>
        </p:nvSpPr>
        <p:spPr bwMode="auto">
          <a:xfrm>
            <a:off x="539750" y="1920875"/>
            <a:ext cx="3889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lt</a:t>
            </a:r>
          </a:p>
        </p:txBody>
      </p:sp>
      <p:sp>
        <p:nvSpPr>
          <p:cNvPr id="50186" name="Text Box 12"/>
          <p:cNvSpPr txBox="1">
            <a:spLocks noChangeArrowheads="1"/>
          </p:cNvSpPr>
          <p:nvPr/>
        </p:nvSpPr>
        <p:spPr bwMode="auto">
          <a:xfrm>
            <a:off x="684213" y="4802188"/>
            <a:ext cx="485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Baix</a:t>
            </a:r>
          </a:p>
        </p:txBody>
      </p:sp>
      <p:sp>
        <p:nvSpPr>
          <p:cNvPr id="50187" name="Oval 16"/>
          <p:cNvSpPr>
            <a:spLocks noChangeArrowheads="1"/>
          </p:cNvSpPr>
          <p:nvPr/>
        </p:nvSpPr>
        <p:spPr bwMode="auto">
          <a:xfrm>
            <a:off x="1116013" y="3933825"/>
            <a:ext cx="3024187" cy="1655763"/>
          </a:xfrm>
          <a:prstGeom prst="ellipse">
            <a:avLst/>
          </a:prstGeom>
          <a:solidFill>
            <a:srgbClr val="003366"/>
          </a:solidFill>
          <a:ln w="3810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50188" name="Oval 17"/>
          <p:cNvSpPr>
            <a:spLocks noChangeArrowheads="1"/>
          </p:cNvSpPr>
          <p:nvPr/>
        </p:nvSpPr>
        <p:spPr bwMode="auto">
          <a:xfrm>
            <a:off x="3203575" y="2565400"/>
            <a:ext cx="3024188" cy="1655763"/>
          </a:xfrm>
          <a:prstGeom prst="ellipse">
            <a:avLst/>
          </a:prstGeom>
          <a:solidFill>
            <a:srgbClr val="003366"/>
          </a:solidFill>
          <a:ln w="3810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50189" name="Oval 18"/>
          <p:cNvSpPr>
            <a:spLocks noChangeArrowheads="1"/>
          </p:cNvSpPr>
          <p:nvPr/>
        </p:nvSpPr>
        <p:spPr bwMode="auto">
          <a:xfrm>
            <a:off x="5795963" y="1557338"/>
            <a:ext cx="3168650" cy="1584325"/>
          </a:xfrm>
          <a:prstGeom prst="ellipse">
            <a:avLst/>
          </a:prstGeom>
          <a:solidFill>
            <a:srgbClr val="003366"/>
          </a:solidFill>
          <a:ln w="38100">
            <a:solidFill>
              <a:srgbClr val="003366"/>
            </a:solidFill>
            <a:round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50190" name="Text Box 19"/>
          <p:cNvSpPr txBox="1">
            <a:spLocks noChangeArrowheads="1"/>
          </p:cNvSpPr>
          <p:nvPr/>
        </p:nvSpPr>
        <p:spPr bwMode="auto">
          <a:xfrm>
            <a:off x="1619250" y="1196975"/>
            <a:ext cx="2854325" cy="466725"/>
          </a:xfrm>
          <a:prstGeom prst="rect">
            <a:avLst/>
          </a:prstGeom>
          <a:solidFill>
            <a:schemeClr val="bg1"/>
          </a:solidFill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Business sector renewal</a:t>
            </a:r>
          </a:p>
          <a:p>
            <a:pPr algn="ctr"/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reació de mercats – Creixement potencial</a:t>
            </a:r>
          </a:p>
        </p:txBody>
      </p:sp>
      <p:sp>
        <p:nvSpPr>
          <p:cNvPr id="50191" name="Line 20"/>
          <p:cNvSpPr>
            <a:spLocks noChangeShapeType="1"/>
          </p:cNvSpPr>
          <p:nvPr/>
        </p:nvSpPr>
        <p:spPr bwMode="auto">
          <a:xfrm>
            <a:off x="2195513" y="2060575"/>
            <a:ext cx="0" cy="1655763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50192" name="Line 21"/>
          <p:cNvSpPr>
            <a:spLocks noChangeShapeType="1"/>
          </p:cNvSpPr>
          <p:nvPr/>
        </p:nvSpPr>
        <p:spPr bwMode="auto">
          <a:xfrm>
            <a:off x="2987675" y="1989138"/>
            <a:ext cx="504825" cy="719137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50193" name="Line 22"/>
          <p:cNvSpPr>
            <a:spLocks noChangeShapeType="1"/>
          </p:cNvSpPr>
          <p:nvPr/>
        </p:nvSpPr>
        <p:spPr bwMode="auto">
          <a:xfrm>
            <a:off x="5003800" y="1700213"/>
            <a:ext cx="1223963" cy="0"/>
          </a:xfrm>
          <a:prstGeom prst="line">
            <a:avLst/>
          </a:prstGeom>
          <a:noFill/>
          <a:ln w="9525">
            <a:solidFill>
              <a:srgbClr val="003366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/>
          </a:p>
        </p:txBody>
      </p:sp>
      <p:sp>
        <p:nvSpPr>
          <p:cNvPr id="50194" name="Text Box 23"/>
          <p:cNvSpPr txBox="1">
            <a:spLocks noChangeArrowheads="1"/>
          </p:cNvSpPr>
          <p:nvPr/>
        </p:nvSpPr>
        <p:spPr bwMode="auto">
          <a:xfrm>
            <a:off x="5610225" y="4437063"/>
            <a:ext cx="2795588" cy="466725"/>
          </a:xfrm>
          <a:prstGeom prst="rect">
            <a:avLst/>
          </a:prstGeom>
          <a:noFill/>
          <a:ln w="9525">
            <a:solidFill>
              <a:srgbClr val="003366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ublic-sector demand</a:t>
            </a:r>
          </a:p>
          <a:p>
            <a:pPr algn="ctr"/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Relació amb mercats – relació amb clients</a:t>
            </a:r>
          </a:p>
        </p:txBody>
      </p:sp>
      <p:sp>
        <p:nvSpPr>
          <p:cNvPr id="45080" name="Rectangle 24"/>
          <p:cNvSpPr>
            <a:spLocks noChangeArrowheads="1"/>
          </p:cNvSpPr>
          <p:nvPr/>
        </p:nvSpPr>
        <p:spPr bwMode="auto">
          <a:xfrm>
            <a:off x="2843213" y="1628775"/>
            <a:ext cx="6300787" cy="3671888"/>
          </a:xfrm>
          <a:prstGeom prst="rect">
            <a:avLst/>
          </a:prstGeom>
          <a:noFill/>
          <a:ln w="28575">
            <a:solidFill>
              <a:schemeClr val="accent1">
                <a:lumMod val="50000"/>
              </a:schemeClr>
            </a:solidFill>
            <a:prstDash val="dash"/>
            <a:miter lim="800000"/>
            <a:headEnd/>
            <a:tailEnd/>
          </a:ln>
          <a:effectLst/>
          <a:extLst>
            <a:ext uri="{909E8E84-426E-40DD-AFC4-6F175D3DCCD1}"/>
            <a:ext uri="{AF507438-7753-43E0-B8FC-AC1667EBCBE1}"/>
          </a:extLst>
        </p:spPr>
        <p:txBody>
          <a:bodyPr wrap="none" anchor="ctr"/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endParaRPr lang="ca-ES">
              <a:latin typeface="+mn-lt"/>
            </a:endParaRPr>
          </a:p>
        </p:txBody>
      </p:sp>
      <p:sp>
        <p:nvSpPr>
          <p:cNvPr id="45081" name="Text Box 25"/>
          <p:cNvSpPr txBox="1">
            <a:spLocks noChangeArrowheads="1"/>
          </p:cNvSpPr>
          <p:nvPr/>
        </p:nvSpPr>
        <p:spPr bwMode="auto">
          <a:xfrm>
            <a:off x="6592888" y="4941888"/>
            <a:ext cx="2552700" cy="338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wrap="none"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a-ES" sz="16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Compra Pública d’Innovació</a:t>
            </a:r>
            <a:endParaRPr lang="ca-ES" sz="1600" b="1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50197" name="3 Título"/>
          <p:cNvSpPr txBox="1">
            <a:spLocks/>
          </p:cNvSpPr>
          <p:nvPr/>
        </p:nvSpPr>
        <p:spPr bwMode="auto">
          <a:xfrm>
            <a:off x="395288" y="333375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pra Pública d’innovació (CPI,PPI)</a:t>
            </a:r>
          </a:p>
        </p:txBody>
      </p:sp>
      <p:sp>
        <p:nvSpPr>
          <p:cNvPr id="50198" name="Text Box 13"/>
          <p:cNvSpPr txBox="1">
            <a:spLocks noChangeArrowheads="1"/>
          </p:cNvSpPr>
          <p:nvPr/>
        </p:nvSpPr>
        <p:spPr bwMode="auto">
          <a:xfrm>
            <a:off x="1376363" y="4221163"/>
            <a:ext cx="25034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Necessitats sector públic curt termini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Productes i serveis existent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Reptes innovacions petit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Reptes informacionals gran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Baix nivell incertesa</a:t>
            </a:r>
          </a:p>
        </p:txBody>
      </p:sp>
      <p:sp>
        <p:nvSpPr>
          <p:cNvPr id="50199" name="Text Box 14"/>
          <p:cNvSpPr txBox="1">
            <a:spLocks noChangeArrowheads="1"/>
          </p:cNvSpPr>
          <p:nvPr/>
        </p:nvSpPr>
        <p:spPr bwMode="auto">
          <a:xfrm>
            <a:off x="3473450" y="2978150"/>
            <a:ext cx="24844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Necessitats sector públic mig termini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Productes i serveis no  existent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Reptes innovacions moderat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Nivell incertesa moderat</a:t>
            </a:r>
          </a:p>
        </p:txBody>
      </p:sp>
      <p:sp>
        <p:nvSpPr>
          <p:cNvPr id="50200" name="Text Box 15"/>
          <p:cNvSpPr txBox="1">
            <a:spLocks noChangeArrowheads="1"/>
          </p:cNvSpPr>
          <p:nvPr/>
        </p:nvSpPr>
        <p:spPr bwMode="auto">
          <a:xfrm>
            <a:off x="6199188" y="1846263"/>
            <a:ext cx="25209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Necessitats sector públic llarg termini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Productes i serveis no  existents i 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difícils de definir 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Reptes innovacions considerables</a:t>
            </a:r>
          </a:p>
          <a:p>
            <a:r>
              <a:rPr lang="ca-ES" sz="1200">
                <a:solidFill>
                  <a:schemeClr val="bg1"/>
                </a:solidFill>
                <a:latin typeface="Calibri" pitchFamily="34" charset="0"/>
                <a:ea typeface="Arial Unicode MS" pitchFamily="34" charset="-128"/>
              </a:rPr>
              <a:t>Nivell incertesa eleva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10"/>
          <p:cNvSpPr>
            <a:spLocks noChangeArrowheads="1"/>
          </p:cNvSpPr>
          <p:nvPr/>
        </p:nvSpPr>
        <p:spPr bwMode="auto">
          <a:xfrm>
            <a:off x="900113" y="0"/>
            <a:ext cx="799306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 anchor="b"/>
          <a:lstStyle/>
          <a:p>
            <a:pPr algn="ctr" defTabSz="40640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n-US" sz="2000" b="1" i="1">
                <a:solidFill>
                  <a:srgbClr val="003366"/>
                </a:solidFill>
                <a:latin typeface="Calibri" pitchFamily="34" charset="0"/>
              </a:rPr>
              <a:t>Distintos instrumentos de compra para distintas situaciones</a:t>
            </a:r>
            <a:endParaRPr lang="es-ES_tradnl" sz="2000" b="1" i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52226" name="Line 5"/>
          <p:cNvSpPr>
            <a:spLocks noChangeShapeType="1"/>
          </p:cNvSpPr>
          <p:nvPr/>
        </p:nvSpPr>
        <p:spPr bwMode="auto">
          <a:xfrm>
            <a:off x="684213" y="549275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20" tIns="45711" rIns="91420" bIns="45711" anchor="ctr"/>
          <a:lstStyle/>
          <a:p>
            <a:endParaRPr lang="es-ES"/>
          </a:p>
        </p:txBody>
      </p:sp>
      <p:cxnSp>
        <p:nvCxnSpPr>
          <p:cNvPr id="52227" name="6 Conector recto de flecha"/>
          <p:cNvCxnSpPr>
            <a:cxnSpLocks noChangeShapeType="1"/>
          </p:cNvCxnSpPr>
          <p:nvPr/>
        </p:nvCxnSpPr>
        <p:spPr bwMode="auto">
          <a:xfrm flipV="1">
            <a:off x="1547813" y="1125538"/>
            <a:ext cx="0" cy="3959225"/>
          </a:xfrm>
          <a:prstGeom prst="straightConnector1">
            <a:avLst/>
          </a:prstGeom>
          <a:noFill/>
          <a:ln w="38100" algn="ctr">
            <a:solidFill>
              <a:srgbClr val="003366"/>
            </a:solidFill>
            <a:round/>
            <a:headEnd/>
            <a:tailEnd type="arrow" w="med" len="med"/>
          </a:ln>
        </p:spPr>
      </p:cxnSp>
      <p:cxnSp>
        <p:nvCxnSpPr>
          <p:cNvPr id="52228" name="7 Conector recto de flecha"/>
          <p:cNvCxnSpPr>
            <a:cxnSpLocks noChangeShapeType="1"/>
          </p:cNvCxnSpPr>
          <p:nvPr/>
        </p:nvCxnSpPr>
        <p:spPr bwMode="auto">
          <a:xfrm flipV="1">
            <a:off x="1700213" y="5229225"/>
            <a:ext cx="5895975" cy="7938"/>
          </a:xfrm>
          <a:prstGeom prst="straightConnector1">
            <a:avLst/>
          </a:prstGeom>
          <a:noFill/>
          <a:ln w="38100" algn="ctr">
            <a:solidFill>
              <a:srgbClr val="003366"/>
            </a:solidFill>
            <a:round/>
            <a:headEnd/>
            <a:tailEnd type="arrow" w="med" len="med"/>
          </a:ln>
        </p:spPr>
      </p:cxnSp>
      <p:sp>
        <p:nvSpPr>
          <p:cNvPr id="52229" name="9 Rectángulo"/>
          <p:cNvSpPr>
            <a:spLocks noChangeArrowheads="1"/>
          </p:cNvSpPr>
          <p:nvPr/>
        </p:nvSpPr>
        <p:spPr bwMode="auto">
          <a:xfrm>
            <a:off x="1979613" y="1125538"/>
            <a:ext cx="2663825" cy="2303462"/>
          </a:xfrm>
          <a:prstGeom prst="rect">
            <a:avLst/>
          </a:prstGeom>
          <a:noFill/>
          <a:ln w="9525" algn="ctr">
            <a:solidFill>
              <a:srgbClr val="003366"/>
            </a:solidFill>
            <a:round/>
            <a:headEnd/>
            <a:tailEnd/>
          </a:ln>
        </p:spPr>
        <p:txBody>
          <a:bodyPr lIns="91420" tIns="45711" rIns="91420" bIns="45711"/>
          <a:lstStyle/>
          <a:p>
            <a:pPr eaLnBrk="0" hangingPunct="0"/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52230" name="10 Rectángulo"/>
          <p:cNvSpPr>
            <a:spLocks noChangeArrowheads="1"/>
          </p:cNvSpPr>
          <p:nvPr/>
        </p:nvSpPr>
        <p:spPr bwMode="auto">
          <a:xfrm>
            <a:off x="1979613" y="3573463"/>
            <a:ext cx="2663825" cy="1584325"/>
          </a:xfrm>
          <a:prstGeom prst="rect">
            <a:avLst/>
          </a:prstGeom>
          <a:noFill/>
          <a:ln w="9525" algn="ctr">
            <a:solidFill>
              <a:srgbClr val="003366"/>
            </a:solidFill>
            <a:round/>
            <a:headEnd/>
            <a:tailEnd/>
          </a:ln>
        </p:spPr>
        <p:txBody>
          <a:bodyPr lIns="91420" tIns="45711" rIns="91420" bIns="45711"/>
          <a:lstStyle/>
          <a:p>
            <a:pPr eaLnBrk="0" hangingPunct="0"/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52231" name="11 Rectángulo"/>
          <p:cNvSpPr>
            <a:spLocks noChangeArrowheads="1"/>
          </p:cNvSpPr>
          <p:nvPr/>
        </p:nvSpPr>
        <p:spPr bwMode="auto">
          <a:xfrm>
            <a:off x="5003800" y="1125538"/>
            <a:ext cx="2663825" cy="2303462"/>
          </a:xfrm>
          <a:prstGeom prst="rect">
            <a:avLst/>
          </a:prstGeom>
          <a:noFill/>
          <a:ln w="9525" algn="ctr">
            <a:solidFill>
              <a:srgbClr val="003366"/>
            </a:solidFill>
            <a:round/>
            <a:headEnd/>
            <a:tailEnd/>
          </a:ln>
        </p:spPr>
        <p:txBody>
          <a:bodyPr lIns="91420" tIns="45711" rIns="91420" bIns="45711"/>
          <a:lstStyle/>
          <a:p>
            <a:pPr eaLnBrk="0" hangingPunct="0"/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52232" name="12 Rectángulo"/>
          <p:cNvSpPr>
            <a:spLocks noChangeArrowheads="1"/>
          </p:cNvSpPr>
          <p:nvPr/>
        </p:nvSpPr>
        <p:spPr bwMode="auto">
          <a:xfrm>
            <a:off x="5003800" y="3573463"/>
            <a:ext cx="2663825" cy="1584325"/>
          </a:xfrm>
          <a:prstGeom prst="rect">
            <a:avLst/>
          </a:prstGeom>
          <a:noFill/>
          <a:ln w="9525" algn="ctr">
            <a:solidFill>
              <a:srgbClr val="003366"/>
            </a:solidFill>
            <a:round/>
            <a:headEnd/>
            <a:tailEnd/>
          </a:ln>
        </p:spPr>
        <p:txBody>
          <a:bodyPr lIns="91420" tIns="45711" rIns="91420" bIns="45711"/>
          <a:lstStyle/>
          <a:p>
            <a:pPr eaLnBrk="0" hangingPunct="0"/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52233" name="13 CuadroTexto"/>
          <p:cNvSpPr txBox="1">
            <a:spLocks noChangeArrowheads="1"/>
          </p:cNvSpPr>
          <p:nvPr/>
        </p:nvSpPr>
        <p:spPr bwMode="auto">
          <a:xfrm>
            <a:off x="1979613" y="1341438"/>
            <a:ext cx="2682875" cy="146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esarrollo I+D para resolver problema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es-ES" sz="12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futuros estandares y norma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ncursos de diseño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orward Commitment  Procurement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Programas PCP internacionale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pra innovadora y esquemas de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financiación</a:t>
            </a:r>
          </a:p>
        </p:txBody>
      </p:sp>
      <p:sp>
        <p:nvSpPr>
          <p:cNvPr id="52234" name="14 CuadroTexto"/>
          <p:cNvSpPr txBox="1">
            <a:spLocks noChangeArrowheads="1"/>
          </p:cNvSpPr>
          <p:nvPr/>
        </p:nvSpPr>
        <p:spPr bwMode="auto">
          <a:xfrm>
            <a:off x="6084888" y="5516563"/>
            <a:ext cx="2166937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oder del comprador</a:t>
            </a:r>
          </a:p>
        </p:txBody>
      </p:sp>
      <p:sp>
        <p:nvSpPr>
          <p:cNvPr id="52235" name="15 CuadroTexto"/>
          <p:cNvSpPr txBox="1">
            <a:spLocks noChangeArrowheads="1"/>
          </p:cNvSpPr>
          <p:nvPr/>
        </p:nvSpPr>
        <p:spPr bwMode="auto">
          <a:xfrm rot="-5400000">
            <a:off x="173832" y="1715294"/>
            <a:ext cx="2108200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esarrollo necesario</a:t>
            </a:r>
          </a:p>
        </p:txBody>
      </p:sp>
      <p:sp>
        <p:nvSpPr>
          <p:cNvPr id="52236" name="16 CuadroTexto"/>
          <p:cNvSpPr txBox="1">
            <a:spLocks noChangeArrowheads="1"/>
          </p:cNvSpPr>
          <p:nvPr/>
        </p:nvSpPr>
        <p:spPr bwMode="auto">
          <a:xfrm>
            <a:off x="5003800" y="1268413"/>
            <a:ext cx="2635250" cy="163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stimulo activo de la  I+D para 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resolver problema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es-ES" sz="12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participacion en mercados incipiente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rogramas estratégico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orward Commitment  Procurement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Proyectos PCP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celeradoras innovación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cuerdos riesgo compartido</a:t>
            </a:r>
          </a:p>
        </p:txBody>
      </p:sp>
      <p:sp>
        <p:nvSpPr>
          <p:cNvPr id="52237" name="17 CuadroTexto"/>
          <p:cNvSpPr txBox="1">
            <a:spLocks noChangeArrowheads="1"/>
          </p:cNvSpPr>
          <p:nvPr/>
        </p:nvSpPr>
        <p:spPr bwMode="auto">
          <a:xfrm>
            <a:off x="2051050" y="3716338"/>
            <a:ext cx="2490788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esarrollo soluciones innovadora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es-ES" sz="12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Investigación mercado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nsultas al mercado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ialogo competitivo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clusión innovacion en procesos de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pra (especificaciones, MEAT,..</a:t>
            </a:r>
          </a:p>
        </p:txBody>
      </p:sp>
      <p:sp>
        <p:nvSpPr>
          <p:cNvPr id="52238" name="18 CuadroTexto"/>
          <p:cNvSpPr txBox="1">
            <a:spLocks noChangeArrowheads="1"/>
          </p:cNvSpPr>
          <p:nvPr/>
        </p:nvSpPr>
        <p:spPr bwMode="auto">
          <a:xfrm>
            <a:off x="5076825" y="3644900"/>
            <a:ext cx="2489200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0" tIns="45711" rIns="91420" bIns="45711">
            <a:spAutoFit/>
          </a:bodyPr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tracción soluciones innovadora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es-ES" sz="12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Personalización solucione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vestigación mercados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nsultas al mercado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ialogo competitivo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clusión innovación en procesos de</a:t>
            </a:r>
          </a:p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r>
              <a:rPr lang="es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pra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z="1400" smtClean="0">
              <a:solidFill>
                <a:srgbClr val="003366"/>
              </a:solidFill>
              <a:latin typeface="Calibri" pitchFamily="34" charset="0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z="1400" smtClean="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53250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3251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53252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3253" name="Rectangle 8"/>
          <p:cNvSpPr>
            <a:spLocks noChangeArrowheads="1"/>
          </p:cNvSpPr>
          <p:nvPr/>
        </p:nvSpPr>
        <p:spPr bwMode="auto">
          <a:xfrm>
            <a:off x="1042988" y="333375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b"/>
          <a:lstStyle/>
          <a:p>
            <a:pPr algn="ctr"/>
            <a:endParaRPr lang="en-US" sz="2000" b="1" i="1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graphicFrame>
        <p:nvGraphicFramePr>
          <p:cNvPr id="25" name="Diagrama 24"/>
          <p:cNvGraphicFramePr/>
          <p:nvPr/>
        </p:nvGraphicFramePr>
        <p:xfrm>
          <a:off x="827584" y="1412776"/>
          <a:ext cx="700844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3255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/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l modelo  de Compra Pública de innovación (CPI)</a:t>
            </a:r>
          </a:p>
        </p:txBody>
      </p:sp>
      <p:sp>
        <p:nvSpPr>
          <p:cNvPr id="53256" name="1 Abrir llave"/>
          <p:cNvSpPr>
            <a:spLocks/>
          </p:cNvSpPr>
          <p:nvPr/>
        </p:nvSpPr>
        <p:spPr bwMode="auto">
          <a:xfrm>
            <a:off x="1476375" y="5084763"/>
            <a:ext cx="431800" cy="720725"/>
          </a:xfrm>
          <a:prstGeom prst="leftBrace">
            <a:avLst>
              <a:gd name="adj1" fmla="val 8346"/>
              <a:gd name="adj2" fmla="val 50000"/>
            </a:avLst>
          </a:prstGeom>
          <a:noFill/>
          <a:ln w="28575" algn="ctr">
            <a:solidFill>
              <a:srgbClr val="0066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eaLnBrk="0"/>
            <a:endParaRPr lang="ca-ES">
              <a:ea typeface="Arial Unicode MS" pitchFamily="34" charset="-128"/>
            </a:endParaRPr>
          </a:p>
        </p:txBody>
      </p:sp>
      <p:cxnSp>
        <p:nvCxnSpPr>
          <p:cNvPr id="53257" name="3 Conector recto de flecha"/>
          <p:cNvCxnSpPr>
            <a:cxnSpLocks noChangeShapeType="1"/>
          </p:cNvCxnSpPr>
          <p:nvPr/>
        </p:nvCxnSpPr>
        <p:spPr bwMode="auto">
          <a:xfrm>
            <a:off x="1476375" y="4292600"/>
            <a:ext cx="0" cy="1116013"/>
          </a:xfrm>
          <a:prstGeom prst="straightConnector1">
            <a:avLst/>
          </a:prstGeom>
          <a:noFill/>
          <a:ln w="28575" algn="ctr">
            <a:solidFill>
              <a:srgbClr val="003366"/>
            </a:solidFill>
            <a:round/>
            <a:headEnd/>
            <a:tailEnd type="arrow" w="med" len="med"/>
          </a:ln>
        </p:spPr>
      </p:cxnSp>
      <p:sp>
        <p:nvSpPr>
          <p:cNvPr id="53258" name="12 CuadroTexto"/>
          <p:cNvSpPr txBox="1">
            <a:spLocks noChangeArrowheads="1"/>
          </p:cNvSpPr>
          <p:nvPr/>
        </p:nvSpPr>
        <p:spPr bwMode="auto">
          <a:xfrm>
            <a:off x="1763713" y="5229225"/>
            <a:ext cx="169227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pPr marL="284163" indent="-284163">
              <a:buFont typeface="Arial" charset="0"/>
              <a:buChar char="•"/>
            </a:pPr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Pla Salut Catalunya</a:t>
            </a:r>
          </a:p>
          <a:p>
            <a:pPr marL="284163" indent="-284163">
              <a:buFont typeface="Arial" charset="0"/>
              <a:buChar char="•"/>
            </a:pPr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Planes Directores</a:t>
            </a:r>
          </a:p>
          <a:p>
            <a:pPr marL="284163" indent="-284163">
              <a:buFont typeface="Arial" charset="0"/>
              <a:buChar char="•"/>
            </a:pPr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Mapa de demanda</a:t>
            </a:r>
          </a:p>
        </p:txBody>
      </p:sp>
      <p:sp>
        <p:nvSpPr>
          <p:cNvPr id="53259" name="13 Cerrar llave"/>
          <p:cNvSpPr>
            <a:spLocks/>
          </p:cNvSpPr>
          <p:nvPr/>
        </p:nvSpPr>
        <p:spPr bwMode="auto">
          <a:xfrm>
            <a:off x="3348038" y="5013325"/>
            <a:ext cx="503237" cy="936625"/>
          </a:xfrm>
          <a:prstGeom prst="rightBrace">
            <a:avLst>
              <a:gd name="adj1" fmla="val 8350"/>
              <a:gd name="adj2" fmla="val 50000"/>
            </a:avLst>
          </a:prstGeom>
          <a:noFill/>
          <a:ln w="28575" algn="ctr">
            <a:solidFill>
              <a:srgbClr val="0066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eaLnBrk="0"/>
            <a:endParaRPr lang="ca-ES">
              <a:ea typeface="Arial Unicode MS" pitchFamily="34" charset="-128"/>
            </a:endParaRPr>
          </a:p>
        </p:txBody>
      </p:sp>
      <p:sp>
        <p:nvSpPr>
          <p:cNvPr id="53260" name="14 CuadroTexto"/>
          <p:cNvSpPr txBox="1">
            <a:spLocks noChangeArrowheads="1"/>
          </p:cNvSpPr>
          <p:nvPr/>
        </p:nvSpPr>
        <p:spPr bwMode="auto">
          <a:xfrm>
            <a:off x="3851275" y="5229225"/>
            <a:ext cx="15875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ca-ES" sz="1200" b="1">
                <a:solidFill>
                  <a:srgbClr val="006600"/>
                </a:solidFill>
                <a:latin typeface="Calibri" pitchFamily="34" charset="0"/>
              </a:rPr>
              <a:t>Metrica simple para </a:t>
            </a:r>
          </a:p>
          <a:p>
            <a:r>
              <a:rPr lang="ca-ES" sz="1200" b="1">
                <a:solidFill>
                  <a:srgbClr val="006600"/>
                </a:solidFill>
                <a:latin typeface="Calibri" pitchFamily="34" charset="0"/>
              </a:rPr>
              <a:t>la evaluación de ide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z="1400" smtClean="0">
              <a:solidFill>
                <a:srgbClr val="003366"/>
              </a:solidFill>
              <a:latin typeface="Calibri" pitchFamily="34" charset="0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z="1400" smtClean="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55298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5299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55300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 sz="1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5301" name="Rectangle 8"/>
          <p:cNvSpPr>
            <a:spLocks noChangeArrowheads="1"/>
          </p:cNvSpPr>
          <p:nvPr/>
        </p:nvSpPr>
        <p:spPr bwMode="auto">
          <a:xfrm>
            <a:off x="1042988" y="333375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b"/>
          <a:lstStyle/>
          <a:p>
            <a:pPr algn="ctr"/>
            <a:endParaRPr lang="en-US" sz="2000" b="1" i="1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graphicFrame>
        <p:nvGraphicFramePr>
          <p:cNvPr id="25" name="Diagrama 24"/>
          <p:cNvGraphicFramePr/>
          <p:nvPr/>
        </p:nvGraphicFramePr>
        <p:xfrm>
          <a:off x="827584" y="1412776"/>
          <a:ext cx="700844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5303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/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l modelo de Compra Pública de innovación (CPI)</a:t>
            </a:r>
          </a:p>
        </p:txBody>
      </p:sp>
      <p:sp>
        <p:nvSpPr>
          <p:cNvPr id="55304" name="9 Abrir llave"/>
          <p:cNvSpPr>
            <a:spLocks/>
          </p:cNvSpPr>
          <p:nvPr/>
        </p:nvSpPr>
        <p:spPr bwMode="auto">
          <a:xfrm rot="5400000">
            <a:off x="2844007" y="2997993"/>
            <a:ext cx="647700" cy="3382963"/>
          </a:xfrm>
          <a:prstGeom prst="leftBrace">
            <a:avLst>
              <a:gd name="adj1" fmla="val 8342"/>
              <a:gd name="adj2" fmla="val 49407"/>
            </a:avLst>
          </a:prstGeom>
          <a:noFill/>
          <a:ln w="38100" algn="ctr">
            <a:solidFill>
              <a:srgbClr val="0066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eaLnBrk="0"/>
            <a:endParaRPr lang="ca-ES">
              <a:solidFill>
                <a:srgbClr val="006600"/>
              </a:solidFill>
              <a:ea typeface="Arial Unicode MS" pitchFamily="34" charset="-128"/>
            </a:endParaRPr>
          </a:p>
        </p:txBody>
      </p:sp>
      <p:sp>
        <p:nvSpPr>
          <p:cNvPr id="55305" name="9 Abrir llave"/>
          <p:cNvSpPr>
            <a:spLocks/>
          </p:cNvSpPr>
          <p:nvPr/>
        </p:nvSpPr>
        <p:spPr bwMode="auto">
          <a:xfrm rot="-5400000">
            <a:off x="3011487" y="668338"/>
            <a:ext cx="455613" cy="2808288"/>
          </a:xfrm>
          <a:prstGeom prst="leftBrace">
            <a:avLst>
              <a:gd name="adj1" fmla="val 8304"/>
              <a:gd name="adj2" fmla="val 49407"/>
            </a:avLst>
          </a:prstGeom>
          <a:noFill/>
          <a:ln w="38100" algn="ctr">
            <a:solidFill>
              <a:srgbClr val="0066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eaLnBrk="0"/>
            <a:endParaRPr lang="ca-ES">
              <a:ea typeface="Arial Unicode MS" pitchFamily="34" charset="-128"/>
            </a:endParaRPr>
          </a:p>
        </p:txBody>
      </p:sp>
      <p:sp>
        <p:nvSpPr>
          <p:cNvPr id="14" name="12 CuadroTexto"/>
          <p:cNvSpPr txBox="1"/>
          <p:nvPr/>
        </p:nvSpPr>
        <p:spPr>
          <a:xfrm>
            <a:off x="1916113" y="4797425"/>
            <a:ext cx="2243137" cy="1384300"/>
          </a:xfrm>
          <a:prstGeom prst="rect">
            <a:avLst/>
          </a:prstGeom>
          <a:noFill/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       Business Case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Business Model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User case definition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Evaluation Guide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Guidance for experts/evaluators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Guidance for appliacement</a:t>
            </a:r>
          </a:p>
          <a:p>
            <a:pPr algn="ctr">
              <a:buFont typeface="Arial" charset="0"/>
              <a:buChar char="•"/>
            </a:pPr>
            <a:endParaRPr lang="es-ES" sz="1200" b="1">
              <a:solidFill>
                <a:srgbClr val="006600"/>
              </a:solidFill>
              <a:latin typeface="Calibri" pitchFamily="34" charset="0"/>
            </a:endParaRPr>
          </a:p>
        </p:txBody>
      </p:sp>
      <p:sp>
        <p:nvSpPr>
          <p:cNvPr id="20" name="12 CuadroTexto"/>
          <p:cNvSpPr txBox="1"/>
          <p:nvPr/>
        </p:nvSpPr>
        <p:spPr>
          <a:xfrm>
            <a:off x="2127250" y="836613"/>
            <a:ext cx="1728788" cy="1384300"/>
          </a:xfrm>
          <a:prstGeom prst="rect">
            <a:avLst/>
          </a:prstGeom>
          <a:noFill/>
        </p:spPr>
        <p:txBody>
          <a:bodyPr wrap="none" lIns="91430" tIns="45715" rIns="91430" bIns="45715">
            <a:spAutoFit/>
          </a:bodyPr>
          <a:lstStyle/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       Market consultation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Technical expertise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User consultation</a:t>
            </a:r>
          </a:p>
          <a:p>
            <a:pPr algn="ctr"/>
            <a:endParaRPr lang="es-ES" sz="1200" b="1">
              <a:solidFill>
                <a:srgbClr val="006600"/>
              </a:solidFill>
              <a:latin typeface="Calibri" pitchFamily="34" charset="0"/>
            </a:endParaRP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Functional analysis</a:t>
            </a:r>
          </a:p>
          <a:p>
            <a:pPr algn="ctr"/>
            <a:r>
              <a:rPr lang="es-ES" sz="1200" b="1">
                <a:solidFill>
                  <a:srgbClr val="006600"/>
                </a:solidFill>
                <a:latin typeface="Calibri" pitchFamily="34" charset="0"/>
              </a:rPr>
              <a:t>Value analysis</a:t>
            </a:r>
          </a:p>
          <a:p>
            <a:pPr algn="ctr">
              <a:buFont typeface="Arial" charset="0"/>
              <a:buChar char="•"/>
            </a:pPr>
            <a:endParaRPr lang="es-ES" sz="1200" b="1">
              <a:solidFill>
                <a:srgbClr val="0066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5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74750" y="2813050"/>
            <a:ext cx="233203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19 Rectángulo"/>
          <p:cNvSpPr/>
          <p:nvPr/>
        </p:nvSpPr>
        <p:spPr>
          <a:xfrm>
            <a:off x="560388" y="2897188"/>
            <a:ext cx="1066800" cy="100965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Existing Regional/County / Hospital PHR</a:t>
            </a:r>
          </a:p>
        </p:txBody>
      </p:sp>
      <p:sp>
        <p:nvSpPr>
          <p:cNvPr id="21" name="20 Rectángulo"/>
          <p:cNvSpPr/>
          <p:nvPr/>
        </p:nvSpPr>
        <p:spPr>
          <a:xfrm>
            <a:off x="153988" y="1949450"/>
            <a:ext cx="1057275" cy="995363"/>
          </a:xfrm>
          <a:prstGeom prst="rect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ctr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Existing Regional/County / Hospital</a:t>
            </a:r>
          </a:p>
          <a:p>
            <a:pPr algn="ctr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EHR</a:t>
            </a:r>
          </a:p>
        </p:txBody>
      </p:sp>
      <p:sp>
        <p:nvSpPr>
          <p:cNvPr id="22" name="21 Rectángulo"/>
          <p:cNvSpPr/>
          <p:nvPr/>
        </p:nvSpPr>
        <p:spPr>
          <a:xfrm>
            <a:off x="4730750" y="1946275"/>
            <a:ext cx="4359275" cy="7604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just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Interaction with an healthcare provider external to the Region/County/Hospital system and subsequent access of the information generated during the interaction from the PHR</a:t>
            </a:r>
          </a:p>
        </p:txBody>
      </p:sp>
      <p:sp>
        <p:nvSpPr>
          <p:cNvPr id="23" name="22 Rectángulo"/>
          <p:cNvSpPr/>
          <p:nvPr/>
        </p:nvSpPr>
        <p:spPr>
          <a:xfrm>
            <a:off x="3944208" y="1958708"/>
            <a:ext cx="750627" cy="313190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anchor="ctr"/>
          <a:lstStyle/>
          <a:p>
            <a:pPr algn="ctr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Secure identification of user /patient  and access to the existing PHR from any mobile device</a:t>
            </a:r>
          </a:p>
        </p:txBody>
      </p:sp>
      <p:sp>
        <p:nvSpPr>
          <p:cNvPr id="26" name="25 Rectángulo"/>
          <p:cNvSpPr/>
          <p:nvPr/>
        </p:nvSpPr>
        <p:spPr>
          <a:xfrm>
            <a:off x="4729163" y="2736850"/>
            <a:ext cx="4373562" cy="6540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just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Semantic services to automatic translate Patient Summary Record Data in case of interaction with foreign healthcare provider</a:t>
            </a:r>
          </a:p>
        </p:txBody>
      </p:sp>
      <p:sp>
        <p:nvSpPr>
          <p:cNvPr id="15" name="14 Rectángulo"/>
          <p:cNvSpPr/>
          <p:nvPr/>
        </p:nvSpPr>
        <p:spPr>
          <a:xfrm>
            <a:off x="4738688" y="3511550"/>
            <a:ext cx="4378325" cy="82867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just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Treatment Management (reminders based on the PHR information (and schedule adaptation when travelling) and reputation management of the prescriptions)</a:t>
            </a:r>
          </a:p>
        </p:txBody>
      </p:sp>
      <p:pic>
        <p:nvPicPr>
          <p:cNvPr id="57352" name="Picture 4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69988" y="3317875"/>
            <a:ext cx="2176462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17 Rectángulo"/>
          <p:cNvSpPr/>
          <p:nvPr/>
        </p:nvSpPr>
        <p:spPr>
          <a:xfrm>
            <a:off x="4751388" y="4452938"/>
            <a:ext cx="4351337" cy="62388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just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Data upload from any off-the-shelf PHR complying with DECIPHER interoperability standards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3938588" y="5154613"/>
            <a:ext cx="5137150" cy="8223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anchor="ctr"/>
          <a:lstStyle/>
          <a:p>
            <a:pPr algn="just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Configuration of specific PHR data  (like suffered disease) to be freely accessed and their display in the appropriate language in case of an emergency situation </a:t>
            </a:r>
          </a:p>
        </p:txBody>
      </p:sp>
      <p:sp>
        <p:nvSpPr>
          <p:cNvPr id="57355" name="16 Rectángulo"/>
          <p:cNvSpPr>
            <a:spLocks noChangeArrowheads="1"/>
          </p:cNvSpPr>
          <p:nvPr/>
        </p:nvSpPr>
        <p:spPr bwMode="auto">
          <a:xfrm>
            <a:off x="354013" y="952500"/>
            <a:ext cx="397986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fi-FI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Use Case: Patients with Diabetes Type 2</a:t>
            </a:r>
            <a:endParaRPr lang="en-GB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3507475" y="1947334"/>
            <a:ext cx="341195" cy="40167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30" tIns="45715" rIns="91430" bIns="45715" anchor="ctr"/>
          <a:lstStyle/>
          <a:p>
            <a:pPr algn="ctr" defTabSz="895257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GB" sz="1200" b="1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Accessible User Interface </a:t>
            </a:r>
          </a:p>
        </p:txBody>
      </p:sp>
      <p:sp>
        <p:nvSpPr>
          <p:cNvPr id="57357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algn="ctr"/>
            <a:r>
              <a:rPr lang="fi-FI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DECIPHER App:  ’PHR EU Adapter and Data Collator’</a:t>
            </a:r>
            <a:endParaRPr lang="fi-FI" sz="1100" b="1" i="1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57358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4 Rectángulo"/>
          <p:cNvSpPr>
            <a:spLocks noChangeArrowheads="1"/>
          </p:cNvSpPr>
          <p:nvPr/>
        </p:nvSpPr>
        <p:spPr bwMode="auto">
          <a:xfrm>
            <a:off x="360363" y="153988"/>
            <a:ext cx="743426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0" tIns="45697" rIns="91390" bIns="45697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a-ES" sz="2000" b="1">
                <a:solidFill>
                  <a:srgbClr val="3D4869"/>
                </a:solidFill>
                <a:latin typeface="Calibri" pitchFamily="34" charset="0"/>
              </a:rPr>
              <a:t>Què és l’AQuAS?</a:t>
            </a:r>
          </a:p>
        </p:txBody>
      </p:sp>
      <p:pic>
        <p:nvPicPr>
          <p:cNvPr id="31746" name="Picture 4"/>
          <p:cNvPicPr>
            <a:picLocks noChangeAspect="1" noChangeArrowheads="1"/>
          </p:cNvPicPr>
          <p:nvPr/>
        </p:nvPicPr>
        <p:blipFill>
          <a:blip r:embed="rId2"/>
          <a:srcRect l="31909" t="10001" r="30208" b="5167"/>
          <a:stretch>
            <a:fillRect/>
          </a:stretch>
        </p:blipFill>
        <p:spPr bwMode="auto">
          <a:xfrm>
            <a:off x="250825" y="2428875"/>
            <a:ext cx="2528888" cy="354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5" name="AutoShape 5"/>
          <p:cNvSpPr>
            <a:spLocks noChangeArrowheads="1"/>
          </p:cNvSpPr>
          <p:nvPr/>
        </p:nvSpPr>
        <p:spPr bwMode="auto">
          <a:xfrm>
            <a:off x="3078163" y="2384425"/>
            <a:ext cx="5865812" cy="887413"/>
          </a:xfrm>
          <a:prstGeom prst="roundRect">
            <a:avLst>
              <a:gd name="adj" fmla="val 16667"/>
            </a:avLst>
          </a:prstGeom>
          <a:solidFill>
            <a:srgbClr val="003300">
              <a:alpha val="59000"/>
            </a:srgbClr>
          </a:solidFill>
          <a:ln w="9525">
            <a:noFill/>
            <a:round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lIns="91390" tIns="45697" rIns="91390" bIns="45697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a-ES" sz="1500" dirty="0">
                <a:latin typeface="Verdana" pitchFamily="34" charset="0"/>
              </a:rPr>
              <a:t>L’objectiu és </a:t>
            </a:r>
            <a:r>
              <a:rPr lang="ca-ES" sz="1500" b="1" dirty="0">
                <a:latin typeface="Verdana" pitchFamily="34" charset="0"/>
              </a:rPr>
              <a:t>posicionar </a:t>
            </a:r>
            <a:r>
              <a:rPr lang="ca-ES" sz="1500" b="1" dirty="0" err="1">
                <a:latin typeface="Verdana" pitchFamily="34" charset="0"/>
              </a:rPr>
              <a:t>l’AQuAS</a:t>
            </a:r>
            <a:r>
              <a:rPr lang="ca-ES" sz="1500" b="1" dirty="0">
                <a:latin typeface="Verdana" pitchFamily="34" charset="0"/>
              </a:rPr>
              <a:t> com un referent en avaluació sanitària a Catalunya, l’Estat i l’àmbit internacional</a:t>
            </a:r>
            <a:endParaRPr lang="en-US" sz="1500" b="1" dirty="0">
              <a:latin typeface="Verdana" pitchFamily="34" charset="0"/>
            </a:endParaRPr>
          </a:p>
        </p:txBody>
      </p:sp>
      <p:sp>
        <p:nvSpPr>
          <p:cNvPr id="31748" name="AutoShape 6"/>
          <p:cNvSpPr>
            <a:spLocks noChangeArrowheads="1"/>
          </p:cNvSpPr>
          <p:nvPr/>
        </p:nvSpPr>
        <p:spPr bwMode="auto">
          <a:xfrm>
            <a:off x="3078163" y="3684588"/>
            <a:ext cx="5865812" cy="1314450"/>
          </a:xfrm>
          <a:prstGeom prst="roundRect">
            <a:avLst>
              <a:gd name="adj" fmla="val 16667"/>
            </a:avLst>
          </a:prstGeom>
          <a:solidFill>
            <a:srgbClr val="003366">
              <a:alpha val="61960"/>
            </a:srgbClr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1F3D99"/>
            </a:prstShdw>
          </a:effectLst>
        </p:spPr>
        <p:txBody>
          <a:bodyPr lIns="0" tIns="0" rIns="0" bIns="0" anchor="ctr"/>
          <a:lstStyle/>
          <a:p>
            <a:pPr algn="ctr"/>
            <a:r>
              <a:rPr lang="ca-ES" sz="1500">
                <a:latin typeface="Verdana" pitchFamily="34" charset="0"/>
              </a:rPr>
              <a:t>L’AQuAS vol </a:t>
            </a:r>
            <a:r>
              <a:rPr lang="ca-ES" sz="1500" b="1">
                <a:latin typeface="Verdana" pitchFamily="34" charset="0"/>
              </a:rPr>
              <a:t>generar el coneixement rellevant</a:t>
            </a:r>
            <a:r>
              <a:rPr lang="ca-ES" sz="1500">
                <a:latin typeface="Verdana" pitchFamily="34" charset="0"/>
              </a:rPr>
              <a:t> per </a:t>
            </a:r>
            <a:r>
              <a:rPr lang="ca-ES" sz="1500" b="1">
                <a:latin typeface="Verdana" pitchFamily="34" charset="0"/>
              </a:rPr>
              <a:t>contribuir a la millora de la qualitat, la seguretat i la sostenibilitat</a:t>
            </a:r>
            <a:r>
              <a:rPr lang="ca-ES" sz="1500">
                <a:latin typeface="Verdana" pitchFamily="34" charset="0"/>
              </a:rPr>
              <a:t> del sistema de salut de Catalunya, posant l’enfocament en</a:t>
            </a:r>
            <a:r>
              <a:rPr lang="ca-ES" sz="1500" b="1">
                <a:latin typeface="Verdana" pitchFamily="34" charset="0"/>
              </a:rPr>
              <a:t> l’avaluació</a:t>
            </a:r>
            <a:r>
              <a:rPr lang="ca-ES" sz="1500">
                <a:latin typeface="Verdana" pitchFamily="34" charset="0"/>
              </a:rPr>
              <a:t> i utilitzant com a instruments principals la informació, el coneixement i les TIC</a:t>
            </a:r>
            <a:endParaRPr lang="en-US" sz="1500">
              <a:latin typeface="Verdana" pitchFamily="34" charset="0"/>
            </a:endParaRPr>
          </a:p>
        </p:txBody>
      </p:sp>
      <p:sp>
        <p:nvSpPr>
          <p:cNvPr id="31749" name="Text Placeholder 2"/>
          <p:cNvSpPr>
            <a:spLocks/>
          </p:cNvSpPr>
          <p:nvPr/>
        </p:nvSpPr>
        <p:spPr bwMode="auto">
          <a:xfrm>
            <a:off x="3125788" y="2043113"/>
            <a:ext cx="2349500" cy="26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3213" indent="-303213" eaLnBrk="0">
              <a:spcAft>
                <a:spcPts val="275"/>
              </a:spcAft>
            </a:pPr>
            <a:r>
              <a:rPr lang="es-ES" sz="1700" b="1" i="1">
                <a:solidFill>
                  <a:schemeClr val="tx2"/>
                </a:solidFill>
                <a:latin typeface="Verdana" pitchFamily="34" charset="0"/>
              </a:rPr>
              <a:t>Visió</a:t>
            </a:r>
          </a:p>
        </p:txBody>
      </p:sp>
      <p:sp>
        <p:nvSpPr>
          <p:cNvPr id="31750" name="Text Placeholder 2"/>
          <p:cNvSpPr>
            <a:spLocks/>
          </p:cNvSpPr>
          <p:nvPr/>
        </p:nvSpPr>
        <p:spPr bwMode="auto">
          <a:xfrm>
            <a:off x="3125788" y="3365500"/>
            <a:ext cx="2349500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3213" indent="-303213" eaLnBrk="0">
              <a:spcAft>
                <a:spcPts val="275"/>
              </a:spcAft>
            </a:pPr>
            <a:r>
              <a:rPr lang="es-ES" sz="1700" b="1" i="1">
                <a:solidFill>
                  <a:schemeClr val="tx2"/>
                </a:solidFill>
                <a:latin typeface="Verdana" pitchFamily="34" charset="0"/>
              </a:rPr>
              <a:t>Missió</a:t>
            </a:r>
          </a:p>
        </p:txBody>
      </p:sp>
      <p:sp>
        <p:nvSpPr>
          <p:cNvPr id="31751" name="AutoShape 9"/>
          <p:cNvSpPr>
            <a:spLocks noChangeArrowheads="1"/>
          </p:cNvSpPr>
          <p:nvPr/>
        </p:nvSpPr>
        <p:spPr bwMode="auto">
          <a:xfrm>
            <a:off x="3078163" y="5365750"/>
            <a:ext cx="5865812" cy="887413"/>
          </a:xfrm>
          <a:prstGeom prst="roundRect">
            <a:avLst>
              <a:gd name="adj" fmla="val 16667"/>
            </a:avLst>
          </a:prstGeom>
          <a:solidFill>
            <a:srgbClr val="99CCFF">
              <a:alpha val="45097"/>
            </a:srgbClr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lIns="0" tIns="0" rIns="0" bIns="0" anchor="ctr"/>
          <a:lstStyle/>
          <a:p>
            <a:pPr algn="ctr"/>
            <a:r>
              <a:rPr lang="it-IT" sz="1500" b="1">
                <a:latin typeface="Verdana" pitchFamily="34" charset="0"/>
              </a:rPr>
              <a:t>Credibilitat, utilitat, agilitat, col·laboració, proactivitat, transparència i fiabilitat</a:t>
            </a:r>
            <a:endParaRPr lang="en-US" sz="1500" b="1">
              <a:latin typeface="Verdana" pitchFamily="34" charset="0"/>
            </a:endParaRPr>
          </a:p>
        </p:txBody>
      </p:sp>
      <p:sp>
        <p:nvSpPr>
          <p:cNvPr id="31752" name="Text Placeholder 2"/>
          <p:cNvSpPr>
            <a:spLocks/>
          </p:cNvSpPr>
          <p:nvPr/>
        </p:nvSpPr>
        <p:spPr bwMode="auto">
          <a:xfrm>
            <a:off x="3125788" y="5070475"/>
            <a:ext cx="2349500" cy="265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303213" indent="-303213" eaLnBrk="0">
              <a:spcAft>
                <a:spcPts val="275"/>
              </a:spcAft>
            </a:pPr>
            <a:r>
              <a:rPr lang="es-ES" sz="1700" b="1" i="1">
                <a:solidFill>
                  <a:schemeClr val="tx2"/>
                </a:solidFill>
                <a:latin typeface="Verdana" pitchFamily="34" charset="0"/>
              </a:rPr>
              <a:t>Valors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360363" y="1208088"/>
            <a:ext cx="8583612" cy="704850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390" tIns="45697" rIns="91390" bIns="45697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a-ES" dirty="0">
                <a:latin typeface="Verdana" pitchFamily="34" charset="0"/>
              </a:rPr>
              <a:t>Empresa pública adscrita al Departament de Salut que actua al servei de les polítiques públiques</a:t>
            </a:r>
            <a:endParaRPr lang="es-ES" dirty="0">
              <a:latin typeface="Verdana" pitchFamily="34" charset="0"/>
            </a:endParaRPr>
          </a:p>
        </p:txBody>
      </p:sp>
      <p:pic>
        <p:nvPicPr>
          <p:cNvPr id="3175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5" name="Imagen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17638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6" name="Slide Number Placeholder 9"/>
          <p:cNvSpPr>
            <a:spLocks/>
          </p:cNvSpPr>
          <p:nvPr/>
        </p:nvSpPr>
        <p:spPr bwMode="auto">
          <a:xfrm>
            <a:off x="8505825" y="6496050"/>
            <a:ext cx="282575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075"/>
              </a:lnSpc>
            </a:pPr>
            <a:fld id="{51D23217-9862-4092-B97D-FBB522534FDD}" type="slidenum">
              <a:rPr lang="es-ES" sz="900" b="1">
                <a:solidFill>
                  <a:srgbClr val="002776"/>
                </a:solidFill>
                <a:latin typeface="Calibri" pitchFamily="34" charset="0"/>
              </a:rPr>
              <a:pPr>
                <a:lnSpc>
                  <a:spcPts val="1075"/>
                </a:lnSpc>
              </a:pPr>
              <a:t>2</a:t>
            </a:fld>
            <a:endParaRPr lang="es-ES" sz="900" b="1">
              <a:solidFill>
                <a:srgbClr val="002776"/>
              </a:solidFill>
              <a:latin typeface="Calibri" pitchFamily="34" charset="0"/>
            </a:endParaRPr>
          </a:p>
        </p:txBody>
      </p:sp>
      <p:sp>
        <p:nvSpPr>
          <p:cNvPr id="31757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390" tIns="45697" rIns="91390" bIns="45697" anchor="ctr"/>
          <a:lstStyle/>
          <a:p>
            <a:endParaRPr lang="es-E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981075"/>
            <a:ext cx="9228138" cy="490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7"/>
          <p:cNvSpPr txBox="1">
            <a:spLocks noChangeArrowheads="1"/>
          </p:cNvSpPr>
          <p:nvPr/>
        </p:nvSpPr>
        <p:spPr>
          <a:xfrm>
            <a:off x="0" y="6350"/>
            <a:ext cx="9144000" cy="981075"/>
          </a:xfrm>
          <a:prstGeom prst="rect">
            <a:avLst/>
          </a:prstGeom>
          <a:noFill/>
          <a:ln/>
        </p:spPr>
        <p:txBody>
          <a:bodyPr lIns="91430" tIns="45715" rIns="91430" bIns="45715"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+mj-lt"/>
                <a:ea typeface="+mj-ea"/>
                <a:cs typeface="+mj-cs"/>
              </a:defRPr>
            </a:lvl1pPr>
            <a:lvl2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2pPr>
            <a:lvl3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3pPr>
            <a:lvl4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4pPr>
            <a:lvl5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D624"/>
                </a:solidFill>
                <a:latin typeface="Verdana" pitchFamily="34" charset="0"/>
              </a:defRPr>
            </a:lvl9pPr>
          </a:lstStyle>
          <a:p>
            <a:pPr algn="ctr" defTabSz="914021">
              <a:defRPr/>
            </a:pPr>
            <a:r>
              <a:rPr lang="en-GB" sz="2000" i="1" dirty="0" err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Ospedale</a:t>
            </a:r>
            <a:r>
              <a:rPr lang="en-GB" sz="2000" i="1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 </a:t>
            </a:r>
            <a:r>
              <a:rPr lang="en-GB" sz="2000" i="1" dirty="0" err="1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Niguarda</a:t>
            </a:r>
            <a:endParaRPr lang="en-GB" sz="2000" i="1" dirty="0">
              <a:solidFill>
                <a:srgbClr val="003366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</a:endParaRPr>
          </a:p>
          <a:p>
            <a:pPr algn="ctr" defTabSz="914021">
              <a:defRPr/>
            </a:pPr>
            <a:r>
              <a:rPr lang="en-GB" sz="2000" i="1" dirty="0"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itchFamily="34" charset="0"/>
              </a:rPr>
              <a:t>                                                                             </a:t>
            </a:r>
          </a:p>
        </p:txBody>
      </p:sp>
      <p:sp>
        <p:nvSpPr>
          <p:cNvPr id="59395" name="Line 6"/>
          <p:cNvSpPr>
            <a:spLocks noChangeShapeType="1"/>
          </p:cNvSpPr>
          <p:nvPr/>
        </p:nvSpPr>
        <p:spPr bwMode="auto">
          <a:xfrm>
            <a:off x="611188" y="549275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59396" name="4 CuadroTexto"/>
          <p:cNvSpPr txBox="1">
            <a:spLocks noChangeArrowheads="1"/>
          </p:cNvSpPr>
          <p:nvPr/>
        </p:nvSpPr>
        <p:spPr bwMode="auto">
          <a:xfrm>
            <a:off x="323850" y="5949950"/>
            <a:ext cx="18907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Sara Bedin, Ambrosetti Sp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</p:txBody>
      </p:sp>
      <p:sp>
        <p:nvSpPr>
          <p:cNvPr id="60419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</p:txBody>
      </p:sp>
      <p:sp>
        <p:nvSpPr>
          <p:cNvPr id="60420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60421" name="Rectangle 8"/>
          <p:cNvSpPr>
            <a:spLocks noChangeArrowheads="1"/>
          </p:cNvSpPr>
          <p:nvPr/>
        </p:nvSpPr>
        <p:spPr bwMode="auto">
          <a:xfrm>
            <a:off x="1187450" y="0"/>
            <a:ext cx="7148513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b"/>
          <a:lstStyle/>
          <a:p>
            <a:pPr algn="ctr"/>
            <a:r>
              <a:rPr lang="en-U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rasmus Medical Center</a:t>
            </a:r>
          </a:p>
        </p:txBody>
      </p:sp>
      <p:sp>
        <p:nvSpPr>
          <p:cNvPr id="60422" name="2 Marcador de contenido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marL="341313" indent="-341313">
              <a:spcBef>
                <a:spcPct val="20000"/>
              </a:spcBef>
              <a:buFontTx/>
              <a:buChar char="•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60423" name="Imagen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5650" y="1412875"/>
            <a:ext cx="8053388" cy="479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4" name="Picture 1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25" name="Imagen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17638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426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5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46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</p:txBody>
      </p:sp>
      <p:sp>
        <p:nvSpPr>
          <p:cNvPr id="62467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/>
          <a:lstStyle/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solidFill>
                <a:srgbClr val="000000"/>
              </a:solidFill>
              <a:latin typeface="Helvetica Bold"/>
              <a:ea typeface="Arial Unicode MS" pitchFamily="34" charset="-128"/>
            </a:endParaRPr>
          </a:p>
        </p:txBody>
      </p:sp>
      <p:sp>
        <p:nvSpPr>
          <p:cNvPr id="62468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ca-ES">
              <a:solidFill>
                <a:srgbClr val="000000"/>
              </a:solidFill>
              <a:ea typeface="Arial Unicode MS" pitchFamily="34" charset="-128"/>
            </a:endParaRPr>
          </a:p>
        </p:txBody>
      </p:sp>
      <p:sp>
        <p:nvSpPr>
          <p:cNvPr id="62469" name="Rectangle 8"/>
          <p:cNvSpPr>
            <a:spLocks noChangeArrowheads="1"/>
          </p:cNvSpPr>
          <p:nvPr/>
        </p:nvSpPr>
        <p:spPr bwMode="auto">
          <a:xfrm>
            <a:off x="971550" y="0"/>
            <a:ext cx="7148513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en-U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Resah</a:t>
            </a:r>
          </a:p>
        </p:txBody>
      </p:sp>
      <p:sp>
        <p:nvSpPr>
          <p:cNvPr id="62470" name="2 Marcador de contenido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pic>
        <p:nvPicPr>
          <p:cNvPr id="62471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908050"/>
            <a:ext cx="9051925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72" name="Imagen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17638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73" name="Picture 1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474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38100" y="4884738"/>
            <a:ext cx="3509963" cy="873125"/>
          </a:xfrm>
          <a:prstGeom prst="rect">
            <a:avLst/>
          </a:prstGeom>
          <a:solidFill>
            <a:srgbClr val="E2783B"/>
          </a:solidFill>
          <a:ln w="9525">
            <a:solidFill>
              <a:srgbClr val="E278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299" tIns="41020" rIns="32299" bIns="4102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eds Assessment </a:t>
            </a:r>
          </a:p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&amp; Open Technical Dialogue </a:t>
            </a:r>
          </a:p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&amp; Business Case Modelling</a:t>
            </a:r>
            <a:endParaRPr lang="en-GB" sz="16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6116638" y="4884738"/>
            <a:ext cx="1560512" cy="873125"/>
          </a:xfrm>
          <a:prstGeom prst="rect">
            <a:avLst/>
          </a:prstGeom>
          <a:solidFill>
            <a:srgbClr val="E2783B"/>
          </a:solidFill>
          <a:ln w="9525">
            <a:solidFill>
              <a:srgbClr val="E278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299" tIns="41020" rIns="32299" bIns="4102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ids Assessment</a:t>
            </a:r>
            <a:endParaRPr lang="en-US" sz="16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Rectangle 23"/>
          <p:cNvSpPr>
            <a:spLocks noChangeArrowheads="1"/>
          </p:cNvSpPr>
          <p:nvPr/>
        </p:nvSpPr>
        <p:spPr bwMode="auto">
          <a:xfrm>
            <a:off x="7756525" y="4884738"/>
            <a:ext cx="1262063" cy="873125"/>
          </a:xfrm>
          <a:prstGeom prst="rect">
            <a:avLst/>
          </a:prstGeom>
          <a:solidFill>
            <a:srgbClr val="E2783B"/>
          </a:solidFill>
          <a:ln w="9525">
            <a:solidFill>
              <a:srgbClr val="E278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299" tIns="41020" rIns="32299" bIns="4102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ign &amp; Prototyping</a:t>
            </a:r>
            <a:endParaRPr lang="en-US" sz="16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Rectangle 23"/>
          <p:cNvSpPr>
            <a:spLocks noChangeArrowheads="1"/>
          </p:cNvSpPr>
          <p:nvPr/>
        </p:nvSpPr>
        <p:spPr bwMode="auto">
          <a:xfrm>
            <a:off x="4859338" y="4884738"/>
            <a:ext cx="1171575" cy="873125"/>
          </a:xfrm>
          <a:prstGeom prst="rect">
            <a:avLst/>
          </a:prstGeom>
          <a:solidFill>
            <a:srgbClr val="E2783B"/>
          </a:solidFill>
          <a:ln w="9525">
            <a:solidFill>
              <a:srgbClr val="E278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299" tIns="41020" rIns="32299" bIns="4102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TT Issued</a:t>
            </a:r>
            <a:endParaRPr lang="en-US" sz="16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4517" name="Picture 2" descr="C:\Users\X2382288V\Desktop\Dropbox\DECIPHER\DECIPHER_3_ProjectExecution\WPs\WP6_Dissemination\Logos\DECIPHER PCP-Logot_RGB-02.gi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19825" y="3354388"/>
            <a:ext cx="1112838" cy="1138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18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84888" y="2636838"/>
            <a:ext cx="1360487" cy="569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9" name="Rectangle 3"/>
          <p:cNvSpPr>
            <a:spLocks noChangeArrowheads="1"/>
          </p:cNvSpPr>
          <p:nvPr/>
        </p:nvSpPr>
        <p:spPr bwMode="auto">
          <a:xfrm>
            <a:off x="2051050" y="3429000"/>
            <a:ext cx="14478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UNWIRED </a:t>
            </a:r>
          </a:p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Health</a:t>
            </a:r>
          </a:p>
        </p:txBody>
      </p:sp>
      <p:pic>
        <p:nvPicPr>
          <p:cNvPr id="64520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08400" y="1557338"/>
            <a:ext cx="1239838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16"/>
          <p:cNvSpPr/>
          <p:nvPr/>
        </p:nvSpPr>
        <p:spPr>
          <a:xfrm>
            <a:off x="38100" y="5813425"/>
            <a:ext cx="5434013" cy="328613"/>
          </a:xfrm>
          <a:prstGeom prst="rect">
            <a:avLst/>
          </a:prstGeom>
          <a:solidFill>
            <a:srgbClr val="97BA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FFFFF"/>
                </a:solidFill>
              </a:rPr>
              <a:t>Definition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35" name="Rectangle 16"/>
          <p:cNvSpPr/>
          <p:nvPr/>
        </p:nvSpPr>
        <p:spPr>
          <a:xfrm>
            <a:off x="5668963" y="5813425"/>
            <a:ext cx="3349625" cy="328613"/>
          </a:xfrm>
          <a:prstGeom prst="rect">
            <a:avLst/>
          </a:prstGeom>
          <a:solidFill>
            <a:srgbClr val="97BA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rgbClr val="FFFFFF"/>
                </a:solidFill>
              </a:rPr>
              <a:t>Execution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4572000" y="1484313"/>
            <a:ext cx="5508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1476375" y="2060575"/>
            <a:ext cx="5508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39" name="Rectangle 13"/>
          <p:cNvSpPr>
            <a:spLocks noChangeArrowheads="1"/>
          </p:cNvSpPr>
          <p:nvPr/>
        </p:nvSpPr>
        <p:spPr bwMode="auto">
          <a:xfrm>
            <a:off x="7092950" y="1773238"/>
            <a:ext cx="550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40" name="Rectangle 13"/>
          <p:cNvSpPr>
            <a:spLocks noChangeArrowheads="1"/>
          </p:cNvSpPr>
          <p:nvPr/>
        </p:nvSpPr>
        <p:spPr bwMode="auto">
          <a:xfrm>
            <a:off x="5668963" y="3765550"/>
            <a:ext cx="550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41" name="Rectangle 13"/>
          <p:cNvSpPr>
            <a:spLocks noChangeArrowheads="1"/>
          </p:cNvSpPr>
          <p:nvPr/>
        </p:nvSpPr>
        <p:spPr bwMode="auto">
          <a:xfrm>
            <a:off x="6710363" y="3267075"/>
            <a:ext cx="550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28" name="Rectangle 3"/>
          <p:cNvSpPr>
            <a:spLocks noChangeArrowheads="1"/>
          </p:cNvSpPr>
          <p:nvPr/>
        </p:nvSpPr>
        <p:spPr bwMode="auto">
          <a:xfrm>
            <a:off x="7059613" y="2938463"/>
            <a:ext cx="2382837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Ear Plug </a:t>
            </a:r>
          </a:p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Cleaning Device</a:t>
            </a:r>
            <a:endParaRPr lang="en-GB" sz="1500" b="1">
              <a:solidFill>
                <a:srgbClr val="3D4869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43" name="Rectangle 13"/>
          <p:cNvSpPr>
            <a:spLocks noChangeArrowheads="1"/>
          </p:cNvSpPr>
          <p:nvPr/>
        </p:nvSpPr>
        <p:spPr bwMode="auto">
          <a:xfrm>
            <a:off x="8524875" y="2814638"/>
            <a:ext cx="5508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44" name="Rectangle 23"/>
          <p:cNvSpPr>
            <a:spLocks noChangeArrowheads="1"/>
          </p:cNvSpPr>
          <p:nvPr/>
        </p:nvSpPr>
        <p:spPr bwMode="auto">
          <a:xfrm>
            <a:off x="3605213" y="4884738"/>
            <a:ext cx="1171575" cy="873125"/>
          </a:xfrm>
          <a:prstGeom prst="rect">
            <a:avLst/>
          </a:prstGeom>
          <a:solidFill>
            <a:srgbClr val="E2783B"/>
          </a:solidFill>
          <a:ln w="9525">
            <a:solidFill>
              <a:srgbClr val="E278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2299" tIns="41020" rIns="32299" bIns="41020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TT definition - Legal</a:t>
            </a:r>
            <a:endParaRPr lang="en-US" sz="16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4531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08400" y="2205038"/>
            <a:ext cx="77152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2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75463" y="2924175"/>
            <a:ext cx="7715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3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288088" y="4414838"/>
            <a:ext cx="7715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4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72225" y="2276475"/>
            <a:ext cx="7715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5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700338" y="3933825"/>
            <a:ext cx="77152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36" name="Picture 4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40425" y="1989138"/>
            <a:ext cx="13795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37" name="Rectangle 3"/>
          <p:cNvSpPr>
            <a:spLocks noChangeArrowheads="1"/>
          </p:cNvSpPr>
          <p:nvPr/>
        </p:nvSpPr>
        <p:spPr bwMode="auto">
          <a:xfrm>
            <a:off x="7164388" y="2076450"/>
            <a:ext cx="19685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Cervical Cancer Pharmacogenetics</a:t>
            </a:r>
          </a:p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markers</a:t>
            </a:r>
          </a:p>
        </p:txBody>
      </p:sp>
      <p:sp>
        <p:nvSpPr>
          <p:cNvPr id="50" name="Rectangle 13"/>
          <p:cNvSpPr>
            <a:spLocks noChangeArrowheads="1"/>
          </p:cNvSpPr>
          <p:nvPr/>
        </p:nvSpPr>
        <p:spPr bwMode="auto">
          <a:xfrm>
            <a:off x="8637588" y="1936750"/>
            <a:ext cx="4953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39" name="Rectangle 3"/>
          <p:cNvSpPr>
            <a:spLocks noChangeArrowheads="1"/>
          </p:cNvSpPr>
          <p:nvPr/>
        </p:nvSpPr>
        <p:spPr bwMode="auto">
          <a:xfrm>
            <a:off x="7332663" y="3708400"/>
            <a:ext cx="1925637" cy="784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Mental Health Pharmacogenetics markers</a:t>
            </a:r>
            <a:endParaRPr lang="en-GB" sz="1500" b="1">
              <a:solidFill>
                <a:srgbClr val="3D4869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52" name="Rectangle 13"/>
          <p:cNvSpPr>
            <a:spLocks noChangeArrowheads="1"/>
          </p:cNvSpPr>
          <p:nvPr/>
        </p:nvSpPr>
        <p:spPr bwMode="auto">
          <a:xfrm>
            <a:off x="8524875" y="3565525"/>
            <a:ext cx="5508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41" name="Rectangle 3"/>
          <p:cNvSpPr>
            <a:spLocks noChangeArrowheads="1"/>
          </p:cNvSpPr>
          <p:nvPr/>
        </p:nvSpPr>
        <p:spPr bwMode="auto">
          <a:xfrm>
            <a:off x="3513138" y="4327525"/>
            <a:ext cx="12715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Adults diapers</a:t>
            </a:r>
            <a:endParaRPr lang="en-GB" sz="1500" b="1">
              <a:solidFill>
                <a:srgbClr val="3D4869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54" name="Rectangle 13"/>
          <p:cNvSpPr>
            <a:spLocks noChangeArrowheads="1"/>
          </p:cNvSpPr>
          <p:nvPr/>
        </p:nvSpPr>
        <p:spPr bwMode="auto">
          <a:xfrm>
            <a:off x="4233863" y="4210050"/>
            <a:ext cx="550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43" name="Rectangle 3"/>
          <p:cNvSpPr>
            <a:spLocks noChangeArrowheads="1"/>
          </p:cNvSpPr>
          <p:nvPr/>
        </p:nvSpPr>
        <p:spPr bwMode="auto">
          <a:xfrm>
            <a:off x="3500438" y="3732213"/>
            <a:ext cx="1585912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Blood Donor Track System</a:t>
            </a:r>
            <a:endParaRPr lang="en-GB" sz="1500" b="1">
              <a:solidFill>
                <a:srgbClr val="3D4869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56" name="Rectangle 13"/>
          <p:cNvSpPr>
            <a:spLocks noChangeArrowheads="1"/>
          </p:cNvSpPr>
          <p:nvPr/>
        </p:nvSpPr>
        <p:spPr bwMode="auto">
          <a:xfrm>
            <a:off x="4306888" y="3571875"/>
            <a:ext cx="5524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pic>
        <p:nvPicPr>
          <p:cNvPr id="64545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740650" y="549275"/>
            <a:ext cx="1190625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46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364163" y="2349500"/>
            <a:ext cx="1035050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Rectangle 13"/>
          <p:cNvSpPr>
            <a:spLocks noChangeArrowheads="1"/>
          </p:cNvSpPr>
          <p:nvPr/>
        </p:nvSpPr>
        <p:spPr bwMode="auto">
          <a:xfrm>
            <a:off x="3635375" y="3357563"/>
            <a:ext cx="550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pic>
        <p:nvPicPr>
          <p:cNvPr id="64548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64163" y="2781300"/>
            <a:ext cx="77152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49" name="Rectangle 3"/>
          <p:cNvSpPr>
            <a:spLocks noChangeArrowheads="1"/>
          </p:cNvSpPr>
          <p:nvPr/>
        </p:nvSpPr>
        <p:spPr bwMode="auto">
          <a:xfrm>
            <a:off x="3348038" y="765175"/>
            <a:ext cx="1446212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PRO4VIP</a:t>
            </a:r>
          </a:p>
        </p:txBody>
      </p:sp>
      <p:sp>
        <p:nvSpPr>
          <p:cNvPr id="64" name="Rectangle 13"/>
          <p:cNvSpPr>
            <a:spLocks noChangeArrowheads="1"/>
          </p:cNvSpPr>
          <p:nvPr/>
        </p:nvSpPr>
        <p:spPr bwMode="auto">
          <a:xfrm>
            <a:off x="4572000" y="692150"/>
            <a:ext cx="5508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CSA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pic>
        <p:nvPicPr>
          <p:cNvPr id="64551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08400" y="1125538"/>
            <a:ext cx="77152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52" name="Picture 5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276600" y="1196975"/>
            <a:ext cx="4572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53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372475" y="1341438"/>
            <a:ext cx="771525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Rectangle 13"/>
          <p:cNvSpPr>
            <a:spLocks noChangeArrowheads="1"/>
          </p:cNvSpPr>
          <p:nvPr/>
        </p:nvSpPr>
        <p:spPr bwMode="auto">
          <a:xfrm>
            <a:off x="8593138" y="549275"/>
            <a:ext cx="5508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CSA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9" name="Rectangle 5"/>
          <p:cNvSpPr/>
          <p:nvPr/>
        </p:nvSpPr>
        <p:spPr>
          <a:xfrm>
            <a:off x="971550" y="692150"/>
            <a:ext cx="1649413" cy="576263"/>
          </a:xfrm>
          <a:prstGeom prst="rect">
            <a:avLst/>
          </a:prstGeom>
          <a:solidFill>
            <a:srgbClr val="E278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nowledge sharing</a:t>
            </a:r>
            <a:endParaRPr lang="en-US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4556" name="Picture 2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003800" y="1844675"/>
            <a:ext cx="360363" cy="811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57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87900" y="2565400"/>
            <a:ext cx="771525" cy="427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Rectangle 13"/>
          <p:cNvSpPr>
            <a:spLocks noChangeArrowheads="1"/>
          </p:cNvSpPr>
          <p:nvPr/>
        </p:nvSpPr>
        <p:spPr bwMode="auto">
          <a:xfrm>
            <a:off x="5219700" y="1557338"/>
            <a:ext cx="550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59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2000" b="1" i="1">
                <a:solidFill>
                  <a:srgbClr val="3D4869"/>
                </a:solidFill>
                <a:latin typeface="Calibri" pitchFamily="34" charset="0"/>
                <a:ea typeface="Arial Unicode MS" pitchFamily="34" charset="-128"/>
              </a:rPr>
              <a:t>AQuAS – Alguns projectes PCP i PPI</a:t>
            </a:r>
          </a:p>
          <a:p>
            <a:pPr algn="ctr"/>
            <a:r>
              <a:rPr lang="en-US" sz="2000" b="1" i="1">
                <a:solidFill>
                  <a:srgbClr val="3D4869"/>
                </a:solidFill>
                <a:latin typeface="Calibri" pitchFamily="34" charset="0"/>
                <a:ea typeface="Arial Unicode MS" pitchFamily="34" charset="-128"/>
              </a:rPr>
              <a:t> </a:t>
            </a:r>
          </a:p>
        </p:txBody>
      </p:sp>
      <p:sp>
        <p:nvSpPr>
          <p:cNvPr id="64560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4561" name="Rectangle 3"/>
          <p:cNvSpPr>
            <a:spLocks noChangeArrowheads="1"/>
          </p:cNvSpPr>
          <p:nvPr/>
        </p:nvSpPr>
        <p:spPr bwMode="auto">
          <a:xfrm>
            <a:off x="3419475" y="3068638"/>
            <a:ext cx="158432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Pacemaker</a:t>
            </a:r>
            <a:endParaRPr lang="en-GB" sz="1500" b="1">
              <a:solidFill>
                <a:srgbClr val="3D4869"/>
              </a:solidFill>
              <a:latin typeface="Verdana" pitchFamily="34" charset="0"/>
              <a:ea typeface="Arial Unicode MS" pitchFamily="34" charset="-128"/>
            </a:endParaRPr>
          </a:p>
        </p:txBody>
      </p:sp>
      <p:sp>
        <p:nvSpPr>
          <p:cNvPr id="59" name="Rectangle 13"/>
          <p:cNvSpPr>
            <a:spLocks noChangeArrowheads="1"/>
          </p:cNvSpPr>
          <p:nvPr/>
        </p:nvSpPr>
        <p:spPr bwMode="auto">
          <a:xfrm>
            <a:off x="4140200" y="2781300"/>
            <a:ext cx="550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63" name="Rectangle 3"/>
          <p:cNvSpPr>
            <a:spLocks noChangeArrowheads="1"/>
          </p:cNvSpPr>
          <p:nvPr/>
        </p:nvSpPr>
        <p:spPr bwMode="auto">
          <a:xfrm>
            <a:off x="468313" y="2247900"/>
            <a:ext cx="1446212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MAGIC</a:t>
            </a:r>
          </a:p>
        </p:txBody>
      </p:sp>
      <p:sp>
        <p:nvSpPr>
          <p:cNvPr id="64564" name="Rectangle 3"/>
          <p:cNvSpPr>
            <a:spLocks noChangeArrowheads="1"/>
          </p:cNvSpPr>
          <p:nvPr/>
        </p:nvSpPr>
        <p:spPr bwMode="auto">
          <a:xfrm>
            <a:off x="539750" y="2997200"/>
            <a:ext cx="1446213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THALEA II</a:t>
            </a:r>
          </a:p>
        </p:txBody>
      </p:sp>
      <p:sp>
        <p:nvSpPr>
          <p:cNvPr id="74" name="Rectangle 13"/>
          <p:cNvSpPr>
            <a:spLocks noChangeArrowheads="1"/>
          </p:cNvSpPr>
          <p:nvPr/>
        </p:nvSpPr>
        <p:spPr bwMode="auto">
          <a:xfrm>
            <a:off x="1476375" y="2708275"/>
            <a:ext cx="5508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PI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75" name="Rectangle 13"/>
          <p:cNvSpPr>
            <a:spLocks noChangeArrowheads="1"/>
          </p:cNvSpPr>
          <p:nvPr/>
        </p:nvSpPr>
        <p:spPr bwMode="auto">
          <a:xfrm>
            <a:off x="1547813" y="3644900"/>
            <a:ext cx="5508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chemeClr val="accent6">
                    <a:lumMod val="75000"/>
                  </a:schemeClr>
                </a:solidFill>
                <a:latin typeface="Verdana" pitchFamily="34" charset="0"/>
              </a:rPr>
              <a:t>PCP</a:t>
            </a:r>
            <a:endParaRPr lang="en-US" sz="1200" b="1" dirty="0">
              <a:solidFill>
                <a:schemeClr val="accent6">
                  <a:lumMod val="75000"/>
                </a:schemeClr>
              </a:solidFill>
              <a:latin typeface="Verdana" pitchFamily="34" charset="0"/>
            </a:endParaRPr>
          </a:p>
        </p:txBody>
      </p:sp>
      <p:sp>
        <p:nvSpPr>
          <p:cNvPr id="64567" name="Rectangle 3"/>
          <p:cNvSpPr>
            <a:spLocks noChangeArrowheads="1"/>
          </p:cNvSpPr>
          <p:nvPr/>
        </p:nvSpPr>
        <p:spPr bwMode="auto">
          <a:xfrm>
            <a:off x="611188" y="3889375"/>
            <a:ext cx="14478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en-GB" sz="1500" b="1">
                <a:solidFill>
                  <a:srgbClr val="3D4869"/>
                </a:solidFill>
                <a:latin typeface="Verdana" pitchFamily="34" charset="0"/>
                <a:ea typeface="Arial Unicode MS" pitchFamily="34" charset="-128"/>
              </a:rPr>
              <a:t>ANTISUPERBUG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Line 7"/>
          <p:cNvSpPr>
            <a:spLocks noChangeShapeType="1"/>
          </p:cNvSpPr>
          <p:nvPr/>
        </p:nvSpPr>
        <p:spPr bwMode="auto">
          <a:xfrm>
            <a:off x="6584950" y="114300"/>
            <a:ext cx="0" cy="723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s-ES"/>
          </a:p>
        </p:txBody>
      </p:sp>
      <p:sp>
        <p:nvSpPr>
          <p:cNvPr id="65538" name="Text Box 9"/>
          <p:cNvSpPr txBox="1">
            <a:spLocks noChangeArrowheads="1"/>
          </p:cNvSpPr>
          <p:nvPr/>
        </p:nvSpPr>
        <p:spPr bwMode="auto">
          <a:xfrm>
            <a:off x="395288" y="333375"/>
            <a:ext cx="777716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9875" indent="-269875" algn="ctr">
              <a:spcBef>
                <a:spcPct val="40000"/>
              </a:spcBef>
              <a:buFont typeface="Wingdings" pitchFamily="2" charset="2"/>
              <a:buNone/>
            </a:pPr>
            <a:r>
              <a:rPr lang="en-U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NYMPHA-MD:</a:t>
            </a:r>
          </a:p>
          <a:p>
            <a:pPr marL="269875" indent="-269875" algn="ctr">
              <a:lnSpc>
                <a:spcPct val="40000"/>
              </a:lnSpc>
              <a:spcBef>
                <a:spcPct val="40000"/>
              </a:spcBef>
              <a:buFont typeface="Wingdings" pitchFamily="2" charset="2"/>
              <a:buNone/>
            </a:pPr>
            <a:r>
              <a:rPr lang="en-U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Next Generation Mobile Platforms for HeAlth, in Mental Disorders.</a:t>
            </a:r>
            <a:endParaRPr lang="es-ES" sz="2000" b="1" i="1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65539" name="Text Box 10"/>
          <p:cNvSpPr txBox="1">
            <a:spLocks noChangeArrowheads="1"/>
          </p:cNvSpPr>
          <p:nvPr/>
        </p:nvSpPr>
        <p:spPr bwMode="auto">
          <a:xfrm>
            <a:off x="323850" y="3284538"/>
            <a:ext cx="4248150" cy="218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69875" indent="-269875">
              <a:spcBef>
                <a:spcPct val="40000"/>
              </a:spcBef>
              <a:buFont typeface="Wingdings" pitchFamily="2" charset="2"/>
              <a:buNone/>
            </a:pPr>
            <a:r>
              <a:rPr lang="es-ES" sz="20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lanification:</a:t>
            </a:r>
            <a: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</a:t>
            </a:r>
            <a:b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</a:br>
            <a: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01/01/2014 – 30/06/2017</a:t>
            </a:r>
          </a:p>
          <a:p>
            <a:pPr marL="269875" indent="-269875">
              <a:spcBef>
                <a:spcPct val="40000"/>
              </a:spcBef>
              <a:buFont typeface="Wingdings" pitchFamily="2" charset="2"/>
              <a:buNone/>
            </a:pPr>
            <a:r>
              <a:rPr lang="es-ES" sz="20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U Contribution:</a:t>
            </a:r>
            <a: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</a:t>
            </a:r>
            <a:b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</a:br>
            <a:r>
              <a:rPr lang="es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nsortium: 1.884.000€ (procurement)</a:t>
            </a:r>
          </a:p>
          <a:p>
            <a:pPr marL="269875" indent="-269875">
              <a:spcBef>
                <a:spcPct val="40000"/>
              </a:spcBef>
              <a:buFont typeface="Wingdings" pitchFamily="2" charset="2"/>
              <a:buNone/>
            </a:pPr>
            <a:r>
              <a:rPr lang="ca-ES" sz="2000" b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artners: </a:t>
            </a:r>
            <a:r>
              <a:rPr lang="ca-ES" sz="20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4</a:t>
            </a:r>
            <a:endParaRPr lang="es-ES" sz="20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65540" name="Text Box 11"/>
          <p:cNvSpPr txBox="1">
            <a:spLocks noChangeArrowheads="1"/>
          </p:cNvSpPr>
          <p:nvPr/>
        </p:nvSpPr>
        <p:spPr bwMode="auto">
          <a:xfrm>
            <a:off x="179388" y="1484313"/>
            <a:ext cx="8507412" cy="1311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40000"/>
              </a:spcBef>
              <a:buFont typeface="Wingdings" pitchFamily="2" charset="2"/>
              <a:buNone/>
            </a:pPr>
            <a:r>
              <a:rPr lang="ca-ES" b="1">
                <a:solidFill>
                  <a:srgbClr val="003366"/>
                </a:solidFill>
                <a:ea typeface="Arial Unicode MS" pitchFamily="34" charset="-128"/>
              </a:rPr>
              <a:t>Objetive:</a:t>
            </a:r>
          </a:p>
          <a:p>
            <a:pPr algn="just">
              <a:spcBef>
                <a:spcPct val="40000"/>
              </a:spcBef>
              <a:buFont typeface="Wingdings" pitchFamily="2" charset="2"/>
              <a:buNone/>
            </a:pPr>
            <a:r>
              <a:rPr lang="ca-ES">
                <a:solidFill>
                  <a:srgbClr val="003366"/>
                </a:solidFill>
                <a:ea typeface="Arial Unicode MS" pitchFamily="34" charset="-128"/>
              </a:rPr>
              <a:t>Procurement for the provisioning of next generation services advocated for mental health treatment with a special focus on bipolar disorder based on the use of new technologies, open standards and open platforms.</a:t>
            </a:r>
            <a:endParaRPr lang="es-ES">
              <a:solidFill>
                <a:srgbClr val="003366"/>
              </a:solidFill>
              <a:ea typeface="Arial Unicode MS" pitchFamily="34" charset="-128"/>
            </a:endParaRPr>
          </a:p>
        </p:txBody>
      </p:sp>
      <p:pic>
        <p:nvPicPr>
          <p:cNvPr id="65541" name="Picture 12" descr="DoW_Draft V6 - Microsoft Word_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16463" y="2954338"/>
            <a:ext cx="3290887" cy="285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5542" name="9 Grupo"/>
          <p:cNvGrpSpPr>
            <a:grpSpLocks/>
          </p:cNvGrpSpPr>
          <p:nvPr/>
        </p:nvGrpSpPr>
        <p:grpSpPr bwMode="auto">
          <a:xfrm>
            <a:off x="1773238" y="5403850"/>
            <a:ext cx="2776537" cy="736600"/>
            <a:chOff x="500034" y="5643578"/>
            <a:chExt cx="2071702" cy="785818"/>
          </a:xfrm>
        </p:grpSpPr>
        <p:pic>
          <p:nvPicPr>
            <p:cNvPr id="65544" name="Picture 2"/>
            <p:cNvPicPr>
              <a:picLocks noChangeAspect="1" noChangeArrowheads="1"/>
            </p:cNvPicPr>
            <p:nvPr/>
          </p:nvPicPr>
          <p:blipFill>
            <a:blip r:embed="rId3"/>
            <a:srcRect t="54977" b="26770"/>
            <a:stretch>
              <a:fillRect/>
            </a:stretch>
          </p:blipFill>
          <p:spPr bwMode="auto">
            <a:xfrm>
              <a:off x="1552561" y="5643578"/>
              <a:ext cx="1019175" cy="785818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</p:spPr>
        </p:pic>
        <p:pic>
          <p:nvPicPr>
            <p:cNvPr id="65545" name="Picture 3"/>
            <p:cNvPicPr>
              <a:picLocks noChangeAspect="1" noChangeArrowheads="1"/>
            </p:cNvPicPr>
            <p:nvPr/>
          </p:nvPicPr>
          <p:blipFill>
            <a:blip r:embed="rId3"/>
            <a:srcRect b="83408"/>
            <a:stretch>
              <a:fillRect/>
            </a:stretch>
          </p:blipFill>
          <p:spPr bwMode="auto">
            <a:xfrm>
              <a:off x="500034" y="5643578"/>
              <a:ext cx="1019175" cy="714380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</p:spPr>
        </p:pic>
      </p:grpSp>
      <p:sp>
        <p:nvSpPr>
          <p:cNvPr id="65543" name="Line 6"/>
          <p:cNvSpPr>
            <a:spLocks noChangeShapeType="1"/>
          </p:cNvSpPr>
          <p:nvPr/>
        </p:nvSpPr>
        <p:spPr bwMode="auto">
          <a:xfrm>
            <a:off x="584200" y="1196975"/>
            <a:ext cx="7697788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ca-ES" altLang="ca-ES" sz="2000" b="1" i="1">
                <a:solidFill>
                  <a:srgbClr val="003366"/>
                </a:solidFill>
                <a:latin typeface="Calibri" pitchFamily="34" charset="0"/>
              </a:rPr>
              <a:t>Finançament de la CPI amb Horitzó 2020</a:t>
            </a:r>
            <a:endParaRPr lang="ca-ES" sz="2000" b="1" i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66562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6563" name="3 CuadroTexto"/>
          <p:cNvSpPr txBox="1">
            <a:spLocks noChangeArrowheads="1"/>
          </p:cNvSpPr>
          <p:nvPr/>
        </p:nvSpPr>
        <p:spPr bwMode="auto">
          <a:xfrm>
            <a:off x="400050" y="1290638"/>
            <a:ext cx="8497888" cy="478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spcAft>
                <a:spcPts val="12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Mitjançant el programa Horitzó 2020, la Comissió Europea (CE) dóna suport a la creació de xarxes per al foment de la CPI i l</a:t>
            </a:r>
            <a:r>
              <a:rPr lang="ca-ES" altLang="es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intercanvi de bones pràctiques, especialment de compres conjuntes amb compradors d</a:t>
            </a:r>
            <a:r>
              <a:rPr lang="ca-ES" altLang="es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almenys tres països. </a:t>
            </a:r>
          </a:p>
          <a:p>
            <a:pPr marL="285750" indent="-285750">
              <a:spcAft>
                <a:spcPts val="1200"/>
              </a:spcAft>
              <a:buClr>
                <a:srgbClr val="003366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La CE pot subvencionar fins al 100 % dels costos directes (més un 25 % d</a:t>
            </a:r>
            <a:r>
              <a:rPr lang="ca-ES" altLang="es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indirectes) associats a aquestes xarxes que, a més a més de formació, intercanvi de bones pràctiques o avaluació conjunta de necessitats, tenen per objectiu acordar, si es dóna el cas, una CPP o una CPTI.</a:t>
            </a:r>
          </a:p>
          <a:p>
            <a:pPr marL="285750" indent="-285750">
              <a:spcAft>
                <a:spcPts val="1200"/>
              </a:spcAft>
              <a:buClr>
                <a:srgbClr val="003366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285750" indent="-285750">
              <a:spcAft>
                <a:spcPts val="12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La CE subvenciona en un 90 % i un 35 % respectivament l</a:t>
            </a:r>
            <a:r>
              <a:rPr lang="ca-ES" altLang="es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import de les licitacions i costos de gestió associats a les compres CPP o CPTI realitzades conjuntament pel consorci de compradors públics. </a:t>
            </a:r>
          </a:p>
          <a:p>
            <a:pPr marL="742950" lvl="1" indent="-285750">
              <a:spcAft>
                <a:spcPts val="600"/>
              </a:spcAft>
              <a:buClr>
                <a:srgbClr val="C00000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C00000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C00000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C00000"/>
              </a:buClr>
              <a:buFont typeface="Arial" charset="0"/>
              <a:buChar char="•"/>
            </a:pPr>
            <a:endParaRPr lang="ca-ES" altLang="ca-ES" sz="1600">
              <a:solidFill>
                <a:srgbClr val="003366"/>
              </a:solidFill>
              <a:latin typeface="Calibri" pitchFamily="34" charset="0"/>
              <a:ea typeface="ＭＳ Ｐゴシック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ca-ES" altLang="ca-ES" sz="2000" b="1" i="1">
                <a:solidFill>
                  <a:srgbClr val="003366"/>
                </a:solidFill>
                <a:latin typeface="Calibri" pitchFamily="34" charset="0"/>
              </a:rPr>
              <a:t>Finançament de la CPI a Catalunya amb FEDER (I)</a:t>
            </a:r>
            <a:endParaRPr lang="ca-ES" sz="2000" b="1" i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67586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7587" name="3 CuadroTexto"/>
          <p:cNvSpPr txBox="1">
            <a:spLocks noChangeArrowheads="1"/>
          </p:cNvSpPr>
          <p:nvPr/>
        </p:nvSpPr>
        <p:spPr bwMode="auto">
          <a:xfrm>
            <a:off x="468313" y="1143000"/>
            <a:ext cx="8497887" cy="421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3538" indent="-363538">
              <a:spcAft>
                <a:spcPts val="6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La RIS3CAT impulsa la planificació estratègica i la implementació de la compra pública innovadora (CPI) en les compres de l</a:t>
            </a:r>
            <a:r>
              <a:rPr lang="ca-ES" altLang="ja-JP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Administració de la Generalitat de Catalunya i el seu sector públic.</a:t>
            </a:r>
          </a:p>
          <a:p>
            <a:pPr marL="363538" indent="-363538">
              <a:spcAft>
                <a:spcPts val="6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El PO FEDER de Catalunya 2014-2020 preveu 50 milions d</a:t>
            </a:r>
            <a:r>
              <a:rPr lang="ca-ES" altLang="es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euros per a la CPI desenvolupada en el marc de la RIS3CAT.</a:t>
            </a:r>
          </a:p>
          <a:p>
            <a:pPr marL="363538" indent="-363538">
              <a:spcAft>
                <a:spcPts val="600"/>
              </a:spcAft>
              <a:buClr>
                <a:srgbClr val="003366"/>
              </a:buClr>
              <a:buFont typeface="Arial" charset="0"/>
              <a:buChar char="•"/>
            </a:pP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Els compradors públics poden rebre orientació tècnica en les fases de preparació i l</a:t>
            </a:r>
            <a:r>
              <a:rPr lang="ca-ES" altLang="es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execució de projectes de CPI:</a:t>
            </a:r>
          </a:p>
          <a:p>
            <a:pPr marL="711200" lvl="1" indent="-347663">
              <a:spcBef>
                <a:spcPts val="600"/>
              </a:spcBef>
              <a:buClr>
                <a:srgbClr val="003366"/>
              </a:buClr>
              <a:buFont typeface="Arial" charset="0"/>
              <a:buChar char="•"/>
            </a:pPr>
            <a:r>
              <a:rPr lang="ca-ES" altLang="ca-ES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Per al disseny dels procediments de contractació pública, així com per a l'elaboració dels plecs de clàusules administratives particulars i dels contractes (Secretaria tècnica de la Junta Consultiva de Contractació Administrativa.)</a:t>
            </a:r>
          </a:p>
          <a:p>
            <a:pPr marL="711200" lvl="1" indent="-347663">
              <a:spcBef>
                <a:spcPts val="600"/>
              </a:spcBef>
              <a:buClr>
                <a:srgbClr val="003366"/>
              </a:buClr>
              <a:buFont typeface="Arial" charset="0"/>
              <a:buChar char="•"/>
            </a:pPr>
            <a:r>
              <a:rPr lang="ca-ES" altLang="ca-ES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Per a la realització de consultes en el mercat, la dinamització del mateix en la </a:t>
            </a:r>
            <a:r>
              <a:rPr lang="ca-ES" altLang="ja-JP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identificació d’oportunitats</a:t>
            </a:r>
            <a:r>
              <a:rPr lang="ca-ES" altLang="ca-ES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, la identificació de capacitats tècniques d’empreses i agents de recerca i innovació o</a:t>
            </a:r>
            <a:r>
              <a:rPr lang="ca-ES" altLang="ja-JP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 la facilitació de mecanismes de suport per a la definició d'especificacions funcionals, etc. (AQuAs en l</a:t>
            </a:r>
            <a:r>
              <a:rPr lang="ca-ES" altLang="es-ES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ja-JP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àmbit de la salut).</a:t>
            </a:r>
          </a:p>
          <a:p>
            <a:pPr marL="711200" lvl="1" indent="-347663">
              <a:spcBef>
                <a:spcPts val="600"/>
              </a:spcBef>
              <a:buClr>
                <a:srgbClr val="003366"/>
              </a:buClr>
              <a:buFont typeface="Arial" charset="0"/>
              <a:buChar char="•"/>
            </a:pPr>
            <a:r>
              <a:rPr lang="ca-ES" altLang="ja-JP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Per a la certificació del component d’innovació, prèvia sol·licitud de programació del projecte de CPI al PO FEDER Catalunya 2014-2020, per part del comprador públic (AQuAs en l</a:t>
            </a:r>
            <a:r>
              <a:rPr lang="ca-ES" altLang="es-ES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'</a:t>
            </a:r>
            <a:r>
              <a:rPr lang="ca-ES" altLang="ja-JP" sz="14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àmbit de la salut).</a:t>
            </a:r>
            <a:endParaRPr lang="ca-ES" altLang="ca-ES" sz="1700">
              <a:solidFill>
                <a:srgbClr val="003366"/>
              </a:solidFill>
              <a:latin typeface="Calibri" pitchFamily="34" charset="0"/>
              <a:ea typeface="Arial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ca-ES" altLang="ca-ES" sz="2000" b="1" i="1">
                <a:solidFill>
                  <a:srgbClr val="003366"/>
                </a:solidFill>
                <a:latin typeface="Calibri" pitchFamily="34" charset="0"/>
              </a:rPr>
              <a:t>Finançament de la CPI a Catalunya amb FEDER (II)</a:t>
            </a:r>
            <a:endParaRPr lang="ca-ES" sz="2000" b="1" i="1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68610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8611" name="QuadreDeText 5"/>
          <p:cNvSpPr txBox="1">
            <a:spLocks noChangeArrowheads="1"/>
          </p:cNvSpPr>
          <p:nvPr/>
        </p:nvSpPr>
        <p:spPr bwMode="auto">
          <a:xfrm>
            <a:off x="504825" y="1125538"/>
            <a:ext cx="8459788" cy="1184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003366"/>
              </a:buClr>
              <a:buFont typeface="Arial" charset="0"/>
              <a:buChar char="•"/>
              <a:tabLst>
                <a:tab pos="355600" algn="l"/>
              </a:tabLst>
            </a:pPr>
            <a:r>
              <a:rPr lang="ca-ES" altLang="ca-ES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Objectiu temàtic1. Potenciar la recerca, el desenvolupament tecnològic i la innovació</a:t>
            </a:r>
          </a:p>
          <a:p>
            <a:pPr marL="820738" lvl="1" indent="-363538">
              <a:spcAft>
                <a:spcPts val="600"/>
              </a:spcAft>
              <a:buClr>
                <a:srgbClr val="003366"/>
              </a:buClr>
              <a:buFont typeface="Arial" charset="0"/>
              <a:buChar char="•"/>
              <a:tabLst>
                <a:tab pos="355600" algn="l"/>
              </a:tabLst>
            </a:pPr>
            <a:r>
              <a:rPr lang="ca-ES" altLang="ca-ES" sz="1600">
                <a:solidFill>
                  <a:srgbClr val="003366"/>
                </a:solidFill>
                <a:latin typeface="Calibri" pitchFamily="34" charset="0"/>
                <a:ea typeface="ＭＳ Ｐゴシック"/>
                <a:cs typeface="Calibri" pitchFamily="34" charset="0"/>
              </a:rPr>
              <a:t>Objectiu específic 1.2.1 Impuls i promoció d'activitats de recerca i innovació liderades per les empreses, suport a la creació i consolidació d'empreses innovadores i suport a la compra pública innovadora</a:t>
            </a:r>
          </a:p>
        </p:txBody>
      </p:sp>
      <p:sp>
        <p:nvSpPr>
          <p:cNvPr id="8" name="7 Rectángulo"/>
          <p:cNvSpPr/>
          <p:nvPr/>
        </p:nvSpPr>
        <p:spPr>
          <a:xfrm>
            <a:off x="576708" y="2780928"/>
            <a:ext cx="3995292" cy="3168352"/>
          </a:xfrm>
          <a:prstGeom prst="rect">
            <a:avLst/>
          </a:prstGeom>
          <a:ln>
            <a:solidFill>
              <a:srgbClr val="00336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285750" lvl="2" indent="-285750" defTabSz="914021" fontAlgn="auto">
              <a:spcBef>
                <a:spcPts val="0"/>
              </a:spcBef>
              <a:spcAft>
                <a:spcPts val="600"/>
              </a:spcAft>
              <a:buClr>
                <a:srgbClr val="003366"/>
              </a:buClr>
              <a:buFont typeface="Arial" pitchFamily="34" charset="0"/>
              <a:buChar char="•"/>
              <a:tabLst>
                <a:tab pos="355600" algn="l"/>
              </a:tabLst>
              <a:defRPr/>
            </a:pPr>
            <a:r>
              <a:rPr lang="ca-ES" sz="1600" dirty="0">
                <a:solidFill>
                  <a:srgbClr val="003366"/>
                </a:solidFill>
                <a:cs typeface="Arial" pitchFamily="34" charset="0"/>
              </a:rPr>
              <a:t>El FEDER </a:t>
            </a:r>
            <a:r>
              <a:rPr lang="ca-ES" sz="1600" b="1" dirty="0">
                <a:solidFill>
                  <a:srgbClr val="003366"/>
                </a:solidFill>
                <a:cs typeface="Arial" pitchFamily="34" charset="0"/>
              </a:rPr>
              <a:t>cofinança el 50 % </a:t>
            </a:r>
            <a:r>
              <a:rPr lang="ca-ES" sz="1600" dirty="0">
                <a:solidFill>
                  <a:srgbClr val="003366"/>
                </a:solidFill>
                <a:cs typeface="Arial" pitchFamily="34" charset="0"/>
              </a:rPr>
              <a:t>de</a:t>
            </a:r>
            <a:r>
              <a:rPr lang="ca-ES" sz="1600" b="1" dirty="0">
                <a:solidFill>
                  <a:srgbClr val="003366"/>
                </a:solidFill>
                <a:cs typeface="Arial" pitchFamily="34" charset="0"/>
              </a:rPr>
              <a:t> </a:t>
            </a:r>
            <a:r>
              <a:rPr lang="ca-ES" altLang="en-US" sz="1600" dirty="0">
                <a:solidFill>
                  <a:srgbClr val="003366"/>
                </a:solidFill>
                <a:cs typeface="Arial" pitchFamily="34" charset="0"/>
              </a:rPr>
              <a:t>la inversió o la despesa directament associada a les activitats d'R+D+I del projecte de CPI: </a:t>
            </a:r>
          </a:p>
          <a:p>
            <a:pPr marL="285750" lvl="6" indent="-285750" defTabSz="914021" eaLnBrk="0" hangingPunct="0">
              <a:spcAft>
                <a:spcPts val="300"/>
              </a:spcAft>
              <a:buClr>
                <a:srgbClr val="003366"/>
              </a:buClr>
              <a:buFont typeface="Arial" pitchFamily="34" charset="0"/>
              <a:buChar char="•"/>
              <a:tabLst>
                <a:tab pos="182563" algn="l"/>
              </a:tabLst>
              <a:defRPr/>
            </a:pPr>
            <a:r>
              <a:rPr lang="ca-ES" altLang="en-US" sz="1600" dirty="0">
                <a:solidFill>
                  <a:srgbClr val="003366"/>
                </a:solidFill>
                <a:cs typeface="Arial" pitchFamily="34" charset="0"/>
              </a:rPr>
              <a:t>La preparació del projecte (avaluació de les necessitats, consulta al mercat, etc.) </a:t>
            </a:r>
            <a:r>
              <a:rPr lang="ca-ES" altLang="en-US" sz="1200" b="1" dirty="0">
                <a:solidFill>
                  <a:srgbClr val="003366"/>
                </a:solidFill>
                <a:cs typeface="Arial" pitchFamily="34" charset="0"/>
              </a:rPr>
              <a:t>Màxim 30 % del cost subvencionable</a:t>
            </a:r>
          </a:p>
          <a:p>
            <a:pPr marL="285750" lvl="6" indent="-285750" defTabSz="914021" eaLnBrk="0" hangingPunct="0">
              <a:spcAft>
                <a:spcPts val="300"/>
              </a:spcAft>
              <a:buClr>
                <a:srgbClr val="003366"/>
              </a:buClr>
              <a:buFont typeface="Arial" pitchFamily="34" charset="0"/>
              <a:buChar char="•"/>
              <a:tabLst>
                <a:tab pos="182563" algn="l"/>
              </a:tabLst>
              <a:defRPr/>
            </a:pPr>
            <a:r>
              <a:rPr lang="ca-ES" altLang="en-US" sz="1600" dirty="0">
                <a:solidFill>
                  <a:srgbClr val="003366"/>
                </a:solidFill>
                <a:cs typeface="Arial" pitchFamily="34" charset="0"/>
              </a:rPr>
              <a:t>Compra pública d'innovació: recerca, desenvolupament de prototip, execució del pilot i de proves, procés d'estandardització. </a:t>
            </a:r>
          </a:p>
          <a:p>
            <a:pPr marL="354013" lvl="6" indent="-171450" defTabSz="914021" eaLnBrk="0" hangingPunct="0">
              <a:spcAft>
                <a:spcPts val="300"/>
              </a:spcAft>
              <a:buClr>
                <a:srgbClr val="003366"/>
              </a:buClr>
              <a:buFont typeface="Arial" pitchFamily="34" charset="0"/>
              <a:buChar char="•"/>
              <a:tabLst>
                <a:tab pos="182563" algn="l"/>
              </a:tabLst>
              <a:defRPr/>
            </a:pPr>
            <a:r>
              <a:rPr lang="ca-ES" altLang="en-US" sz="1200" b="1" dirty="0">
                <a:solidFill>
                  <a:srgbClr val="003366"/>
                </a:solidFill>
                <a:cs typeface="Arial" pitchFamily="34" charset="0"/>
              </a:rPr>
              <a:t>Mínim 70 % del cost subvencionable</a:t>
            </a:r>
          </a:p>
        </p:txBody>
      </p:sp>
      <p:sp>
        <p:nvSpPr>
          <p:cNvPr id="9" name="8 Rectángulo"/>
          <p:cNvSpPr/>
          <p:nvPr/>
        </p:nvSpPr>
        <p:spPr>
          <a:xfrm>
            <a:off x="4735513" y="2781300"/>
            <a:ext cx="3941762" cy="3168650"/>
          </a:xfrm>
          <a:prstGeom prst="rect">
            <a:avLst/>
          </a:prstGeom>
          <a:ln>
            <a:solidFill>
              <a:srgbClr val="00336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 marL="342900" indent="-342900"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73038"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363538" indent="-363538"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2" indent="0" defTabSz="914021" fontAlgn="auto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defRPr/>
            </a:pPr>
            <a:r>
              <a:rPr lang="ca-ES" altLang="ca-ES" sz="1600" dirty="0" smtClean="0">
                <a:solidFill>
                  <a:srgbClr val="003366"/>
                </a:solidFill>
                <a:latin typeface="Arial" pitchFamily="34" charset="0"/>
              </a:rPr>
              <a:t>El FEDER </a:t>
            </a:r>
            <a:r>
              <a:rPr lang="ca-ES" altLang="ca-ES" sz="1600" b="1" dirty="0" smtClean="0">
                <a:solidFill>
                  <a:srgbClr val="003366"/>
                </a:solidFill>
                <a:latin typeface="Arial" pitchFamily="34" charset="0"/>
              </a:rPr>
              <a:t>no cofinança </a:t>
            </a:r>
            <a:r>
              <a:rPr lang="ca-ES" altLang="ca-ES" sz="1600" dirty="0" smtClean="0">
                <a:solidFill>
                  <a:srgbClr val="003366"/>
                </a:solidFill>
                <a:latin typeface="Arial" pitchFamily="34" charset="0"/>
              </a:rPr>
              <a:t>la compra pública comercial de productes o serveis ja</a:t>
            </a:r>
            <a:r>
              <a:rPr lang="ca-ES" altLang="ca-ES" sz="1600" b="1" dirty="0" smtClean="0">
                <a:solidFill>
                  <a:srgbClr val="003366"/>
                </a:solidFill>
                <a:latin typeface="Arial" pitchFamily="34" charset="0"/>
              </a:rPr>
              <a:t> </a:t>
            </a:r>
            <a:r>
              <a:rPr lang="ca-ES" altLang="ca-ES" sz="1600" dirty="0" smtClean="0">
                <a:solidFill>
                  <a:srgbClr val="003366"/>
                </a:solidFill>
                <a:latin typeface="Arial" pitchFamily="34" charset="0"/>
              </a:rPr>
              <a:t>desenvolupats.</a:t>
            </a:r>
            <a:endParaRPr lang="ca-ES" altLang="ca-ES" sz="1400" dirty="0" smtClean="0">
              <a:solidFill>
                <a:srgbClr val="003366"/>
              </a:solidFill>
              <a:latin typeface="Arial" pitchFamily="34" charset="0"/>
            </a:endParaRPr>
          </a:p>
          <a:p>
            <a:pPr lvl="3" defTabSz="914021" fontAlgn="auto">
              <a:spcBef>
                <a:spcPts val="0"/>
              </a:spcBef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X"/>
              <a:defRPr/>
            </a:pPr>
            <a:endParaRPr lang="ca-ES" altLang="ca-ES" sz="1400" dirty="0" smtClean="0">
              <a:solidFill>
                <a:srgbClr val="003366"/>
              </a:solidFill>
              <a:latin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69634" name="3 Título"/>
          <p:cNvSpPr txBox="1">
            <a:spLocks/>
          </p:cNvSpPr>
          <p:nvPr/>
        </p:nvSpPr>
        <p:spPr bwMode="auto">
          <a:xfrm>
            <a:off x="468313" y="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ca-ES" altLang="ca-ES" sz="2000" b="1" i="1">
                <a:solidFill>
                  <a:srgbClr val="003366"/>
                </a:solidFill>
                <a:latin typeface="Calibri" pitchFamily="34" charset="0"/>
              </a:rPr>
              <a:t>Exemple del finançament de la CPI  amb FEDER </a:t>
            </a:r>
            <a:endParaRPr lang="ca-ES" sz="2000" b="1" i="1">
              <a:solidFill>
                <a:srgbClr val="003366"/>
              </a:solidFill>
              <a:latin typeface="Calibri" pitchFamily="34" charset="0"/>
            </a:endParaRPr>
          </a:p>
        </p:txBody>
      </p:sp>
      <p:pic>
        <p:nvPicPr>
          <p:cNvPr id="6963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3438" y="1143000"/>
            <a:ext cx="7864475" cy="441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s-ES_tradnl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s-ES_tradnl" smtClean="0">
              <a:latin typeface="Helvetica Bold"/>
            </a:endParaRPr>
          </a:p>
        </p:txBody>
      </p:sp>
      <p:sp>
        <p:nvSpPr>
          <p:cNvPr id="70658" name="Rectangle 5"/>
          <p:cNvSpPr>
            <a:spLocks noChangeArrowheads="1"/>
          </p:cNvSpPr>
          <p:nvPr/>
        </p:nvSpPr>
        <p:spPr bwMode="auto">
          <a:xfrm>
            <a:off x="684213" y="1628775"/>
            <a:ext cx="7773987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/>
          <a:lstStyle/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70659" name="Line 6"/>
          <p:cNvSpPr>
            <a:spLocks noChangeShapeType="1"/>
          </p:cNvSpPr>
          <p:nvPr/>
        </p:nvSpPr>
        <p:spPr bwMode="auto">
          <a:xfrm>
            <a:off x="611188" y="10525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70660" name="Rectangle 7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70661" name="Rectangle 10"/>
          <p:cNvSpPr>
            <a:spLocks noChangeArrowheads="1"/>
          </p:cNvSpPr>
          <p:nvPr/>
        </p:nvSpPr>
        <p:spPr bwMode="auto">
          <a:xfrm>
            <a:off x="1042988" y="333375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es-ES_tradnl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lgunes  preguntes per  respondre</a:t>
            </a:r>
          </a:p>
        </p:txBody>
      </p:sp>
      <p:sp>
        <p:nvSpPr>
          <p:cNvPr id="70662" name="2 Marcador de contenido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es desenvolupen/preparen les descripcions detallades de les necessitats que es pretenen cobrir? 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es fan legitimes per assumir el risc implicat en la innovació de les empreses i premiar les que ho fan be?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crear/disposar d’una millor comprensió del  mercat, de com funciona i que s’espera del producte/servei?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arribar a una decisió ben informada de quins actors incloure en el procés de compra pública?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concebre criteris de selecció de productes/serveis innovadors? (si i en quines vies es prioritza preu, funció, prestacions o innovació)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millorar les habilitats/capacitats dels compradors?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es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m desenvolupar i establir esquemes de comunicació i informació que reforcin el dialeg entre actors?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16 Rectángulo"/>
          <p:cNvSpPr>
            <a:spLocks noChangeArrowheads="1"/>
          </p:cNvSpPr>
          <p:nvPr/>
        </p:nvSpPr>
        <p:spPr bwMode="auto">
          <a:xfrm>
            <a:off x="360363" y="63500"/>
            <a:ext cx="878363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0" tIns="45697" rIns="91390" bIns="45697">
            <a:spAutoFit/>
          </a:bodyPr>
          <a:lstStyle/>
          <a:p>
            <a:pPr algn="ctr" defTabSz="909638" eaLnBrk="0"/>
            <a:r>
              <a:rPr lang="ca-ES" sz="2000" b="1" i="1">
                <a:solidFill>
                  <a:srgbClr val="3D4869"/>
                </a:solidFill>
                <a:latin typeface="Calibri" pitchFamily="34" charset="0"/>
              </a:rPr>
              <a:t>Tres àmbits d’enfocament estratègic de l’Agència i un instrument necessari</a:t>
            </a:r>
          </a:p>
        </p:txBody>
      </p:sp>
      <p:grpSp>
        <p:nvGrpSpPr>
          <p:cNvPr id="32770" name="Agrupa 20"/>
          <p:cNvGrpSpPr>
            <a:grpSpLocks/>
          </p:cNvGrpSpPr>
          <p:nvPr/>
        </p:nvGrpSpPr>
        <p:grpSpPr bwMode="auto">
          <a:xfrm>
            <a:off x="479425" y="1452563"/>
            <a:ext cx="7931150" cy="4171950"/>
            <a:chOff x="190198" y="1473200"/>
            <a:chExt cx="8623602" cy="5255741"/>
          </a:xfrm>
        </p:grpSpPr>
        <p:sp>
          <p:nvSpPr>
            <p:cNvPr id="2" name="4 Rectángulo"/>
            <p:cNvSpPr/>
            <p:nvPr/>
          </p:nvSpPr>
          <p:spPr bwMode="auto">
            <a:xfrm>
              <a:off x="1755772" y="1473200"/>
              <a:ext cx="2273275" cy="3857809"/>
            </a:xfrm>
            <a:prstGeom prst="roundRect">
              <a:avLst/>
            </a:prstGeom>
            <a:solidFill>
              <a:srgbClr val="003366">
                <a:alpha val="63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b="1" dirty="0">
                  <a:latin typeface="Verdana" pitchFamily="34" charset="0"/>
                </a:rPr>
                <a:t/>
              </a:r>
              <a:br>
                <a:rPr lang="ca-ES" b="1" dirty="0">
                  <a:latin typeface="Verdana" pitchFamily="34" charset="0"/>
                </a:rPr>
              </a:br>
              <a:r>
                <a:rPr lang="ca-ES" b="1" dirty="0">
                  <a:latin typeface="Verdana" pitchFamily="34" charset="0"/>
                </a:rPr>
                <a:t>OBSERVATORI</a:t>
              </a:r>
            </a:p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sz="1500" i="1" dirty="0">
                  <a:latin typeface="Verdana" pitchFamily="34" charset="0"/>
                </a:rPr>
                <a:t>Transparència i rendiment de comptes sobre els resultats del sistema sanitari de Catalunya</a:t>
              </a:r>
              <a:r>
                <a:rPr lang="ca-ES" i="1" dirty="0">
                  <a:latin typeface="Verdana" pitchFamily="34" charset="0"/>
                </a:rPr>
                <a:t/>
              </a:r>
              <a:br>
                <a:rPr lang="ca-ES" i="1" dirty="0">
                  <a:latin typeface="Verdana" pitchFamily="34" charset="0"/>
                </a:rPr>
              </a:br>
              <a:endParaRPr lang="ca-ES" i="1" dirty="0">
                <a:latin typeface="Verdana" pitchFamily="34" charset="0"/>
              </a:endParaRPr>
            </a:p>
          </p:txBody>
        </p:sp>
        <p:sp>
          <p:nvSpPr>
            <p:cNvPr id="7" name="4 Rectángulo"/>
            <p:cNvSpPr/>
            <p:nvPr/>
          </p:nvSpPr>
          <p:spPr bwMode="auto">
            <a:xfrm>
              <a:off x="4148149" y="1473200"/>
              <a:ext cx="2273275" cy="3857809"/>
            </a:xfrm>
            <a:prstGeom prst="roundRect">
              <a:avLst/>
            </a:prstGeom>
            <a:solidFill>
              <a:srgbClr val="003366">
                <a:alpha val="63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b="1" dirty="0">
                  <a:latin typeface="Verdana" pitchFamily="34" charset="0"/>
                </a:rPr>
                <a:t/>
              </a:r>
              <a:br>
                <a:rPr lang="ca-ES" b="1" dirty="0">
                  <a:latin typeface="Verdana" pitchFamily="34" charset="0"/>
                </a:rPr>
              </a:br>
              <a:r>
                <a:rPr lang="ca-ES" b="1" dirty="0">
                  <a:latin typeface="Verdana" pitchFamily="34" charset="0"/>
                </a:rPr>
                <a:t>AVALUACIÓ</a:t>
              </a:r>
            </a:p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sz="1500" i="1" dirty="0">
                  <a:latin typeface="Verdana" pitchFamily="34" charset="0"/>
                </a:rPr>
                <a:t>Avaluació de la qualitat del sistema, tecnologies mèdiques, medicaments  i la recerca</a:t>
              </a:r>
            </a:p>
          </p:txBody>
        </p:sp>
        <p:sp>
          <p:nvSpPr>
            <p:cNvPr id="8" name="4 Rectángulo"/>
            <p:cNvSpPr/>
            <p:nvPr/>
          </p:nvSpPr>
          <p:spPr bwMode="auto">
            <a:xfrm>
              <a:off x="6540525" y="1473200"/>
              <a:ext cx="2273275" cy="3857809"/>
            </a:xfrm>
            <a:prstGeom prst="roundRect">
              <a:avLst/>
            </a:prstGeom>
            <a:solidFill>
              <a:srgbClr val="003366">
                <a:alpha val="63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b="1" dirty="0">
                  <a:latin typeface="Verdana" pitchFamily="34" charset="0"/>
                </a:rPr>
                <a:t/>
              </a:r>
              <a:br>
                <a:rPr lang="ca-ES" b="1" dirty="0">
                  <a:latin typeface="Verdana" pitchFamily="34" charset="0"/>
                </a:rPr>
              </a:br>
              <a:r>
                <a:rPr lang="ca-ES" b="1" dirty="0">
                  <a:latin typeface="Verdana" pitchFamily="34" charset="0"/>
                </a:rPr>
                <a:t>INNOVACIÓ</a:t>
              </a:r>
            </a:p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sz="1500" i="1" dirty="0">
                  <a:latin typeface="Verdana" pitchFamily="34" charset="0"/>
                </a:rPr>
                <a:t>Fomenta i coordina la participació en projectes nacionals i internacionals que promouen la innovació en l’àmbit de la salut i la CPI</a:t>
              </a:r>
              <a:endParaRPr lang="ca-ES" sz="1500" b="1" dirty="0">
                <a:latin typeface="Verdana" pitchFamily="34" charset="0"/>
              </a:endParaRPr>
            </a:p>
          </p:txBody>
        </p:sp>
        <p:sp>
          <p:nvSpPr>
            <p:cNvPr id="9" name="4 Rectángulo"/>
            <p:cNvSpPr/>
            <p:nvPr/>
          </p:nvSpPr>
          <p:spPr bwMode="auto">
            <a:xfrm>
              <a:off x="1755772" y="5802986"/>
              <a:ext cx="7058028" cy="611970"/>
            </a:xfrm>
            <a:prstGeom prst="snip2SameRect">
              <a:avLst/>
            </a:prstGeom>
            <a:solidFill>
              <a:srgbClr val="FF9933"/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r>
                <a:rPr lang="ca-ES" b="1" dirty="0">
                  <a:latin typeface="Verdana" pitchFamily="34" charset="0"/>
                </a:rPr>
                <a:t>Centre de Serveis TIC</a:t>
              </a:r>
            </a:p>
          </p:txBody>
        </p:sp>
        <p:sp>
          <p:nvSpPr>
            <p:cNvPr id="10" name="Up Arrow 12"/>
            <p:cNvSpPr/>
            <p:nvPr/>
          </p:nvSpPr>
          <p:spPr bwMode="auto">
            <a:xfrm>
              <a:off x="2610192" y="5331009"/>
              <a:ext cx="415991" cy="651968"/>
            </a:xfrm>
            <a:prstGeom prst="up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Verdana" pitchFamily="34" charset="0"/>
              </a:endParaRPr>
            </a:p>
          </p:txBody>
        </p:sp>
        <p:sp>
          <p:nvSpPr>
            <p:cNvPr id="11" name="Up Arrow 13"/>
            <p:cNvSpPr/>
            <p:nvPr/>
          </p:nvSpPr>
          <p:spPr bwMode="auto">
            <a:xfrm>
              <a:off x="5076791" y="5331009"/>
              <a:ext cx="415990" cy="651968"/>
            </a:xfrm>
            <a:prstGeom prst="up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Verdana" pitchFamily="34" charset="0"/>
              </a:endParaRPr>
            </a:p>
          </p:txBody>
        </p:sp>
        <p:sp>
          <p:nvSpPr>
            <p:cNvPr id="12" name="Up Arrow 14"/>
            <p:cNvSpPr/>
            <p:nvPr/>
          </p:nvSpPr>
          <p:spPr bwMode="auto">
            <a:xfrm>
              <a:off x="7543389" y="5331009"/>
              <a:ext cx="415991" cy="651968"/>
            </a:xfrm>
            <a:prstGeom prst="up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Verdana" pitchFamily="34" charset="0"/>
              </a:endParaRPr>
            </a:p>
          </p:txBody>
        </p:sp>
        <p:sp>
          <p:nvSpPr>
            <p:cNvPr id="32783" name="Rectangle 6"/>
            <p:cNvSpPr txBox="1"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90198" y="2756099"/>
              <a:ext cx="1563591" cy="900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04875" eaLnBrk="0"/>
              <a:r>
                <a:rPr lang="ca-ES" b="1" i="1">
                  <a:solidFill>
                    <a:schemeClr val="tx2"/>
                  </a:solidFill>
                  <a:latin typeface="Verdana" pitchFamily="34" charset="0"/>
                </a:rPr>
                <a:t>Enfocament estratègic</a:t>
              </a:r>
            </a:p>
          </p:txBody>
        </p:sp>
        <p:sp>
          <p:nvSpPr>
            <p:cNvPr id="32784" name="Rectangle 6"/>
            <p:cNvSpPr txBox="1"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90198" y="5828848"/>
              <a:ext cx="1563591" cy="900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904875" eaLnBrk="0"/>
              <a:r>
                <a:rPr lang="ca-ES" b="1" i="1">
                  <a:solidFill>
                    <a:schemeClr val="tx2"/>
                  </a:solidFill>
                  <a:latin typeface="Verdana" pitchFamily="34" charset="0"/>
                </a:rPr>
                <a:t>Instrument necessari</a:t>
              </a:r>
            </a:p>
          </p:txBody>
        </p:sp>
        <p:sp>
          <p:nvSpPr>
            <p:cNvPr id="15" name="Left-Right Arrow 19"/>
            <p:cNvSpPr/>
            <p:nvPr/>
          </p:nvSpPr>
          <p:spPr bwMode="auto">
            <a:xfrm>
              <a:off x="3896138" y="2755136"/>
              <a:ext cx="407360" cy="223989"/>
            </a:xfrm>
            <a:prstGeom prst="leftRight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Verdana" pitchFamily="34" charset="0"/>
              </a:endParaRPr>
            </a:p>
          </p:txBody>
        </p:sp>
        <p:sp>
          <p:nvSpPr>
            <p:cNvPr id="17" name="Left-Right Arrow 19"/>
            <p:cNvSpPr/>
            <p:nvPr/>
          </p:nvSpPr>
          <p:spPr bwMode="auto">
            <a:xfrm>
              <a:off x="6288514" y="2755136"/>
              <a:ext cx="409085" cy="223989"/>
            </a:xfrm>
            <a:prstGeom prst="leftRightArrow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2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Verdana" pitchFamily="34" charset="0"/>
              </a:endParaRPr>
            </a:p>
          </p:txBody>
        </p:sp>
      </p:grpSp>
      <p:sp>
        <p:nvSpPr>
          <p:cNvPr id="22" name="Rectangle de cantonada única retallada 21"/>
          <p:cNvSpPr/>
          <p:nvPr/>
        </p:nvSpPr>
        <p:spPr>
          <a:xfrm>
            <a:off x="342900" y="1270000"/>
            <a:ext cx="8382000" cy="4813300"/>
          </a:xfrm>
          <a:prstGeom prst="snip1Rect">
            <a:avLst>
              <a:gd name="adj" fmla="val 1191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7" rIns="91390" bIns="45697" anchor="ctr"/>
          <a:lstStyle/>
          <a:p>
            <a:pPr algn="ctr" defTabSz="914021" fontAlgn="auto">
              <a:spcBef>
                <a:spcPts val="0"/>
              </a:spcBef>
              <a:spcAft>
                <a:spcPts val="0"/>
              </a:spcAft>
              <a:defRPr/>
            </a:pPr>
            <a:endParaRPr lang="ca-ES">
              <a:latin typeface="Verdana" pitchFamily="34" charset="0"/>
            </a:endParaRPr>
          </a:p>
        </p:txBody>
      </p:sp>
      <p:pic>
        <p:nvPicPr>
          <p:cNvPr id="32772" name="Picture 1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56163" y="6278563"/>
            <a:ext cx="2738437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73" name="Imagen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17638" y="6253163"/>
            <a:ext cx="332105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4" name="Slide Number Placeholder 9"/>
          <p:cNvSpPr>
            <a:spLocks/>
          </p:cNvSpPr>
          <p:nvPr/>
        </p:nvSpPr>
        <p:spPr bwMode="auto">
          <a:xfrm>
            <a:off x="8505825" y="6496050"/>
            <a:ext cx="282575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ts val="1075"/>
              </a:lnSpc>
            </a:pPr>
            <a:fld id="{D81520B7-932D-449E-AF3A-71CE5703301D}" type="slidenum">
              <a:rPr lang="es-ES" sz="900" b="1">
                <a:solidFill>
                  <a:srgbClr val="002776"/>
                </a:solidFill>
                <a:latin typeface="Calibri" pitchFamily="34" charset="0"/>
              </a:rPr>
              <a:pPr>
                <a:lnSpc>
                  <a:spcPts val="1075"/>
                </a:lnSpc>
              </a:pPr>
              <a:t>3</a:t>
            </a:fld>
            <a:endParaRPr lang="es-ES" sz="900" b="1">
              <a:solidFill>
                <a:srgbClr val="002776"/>
              </a:solidFill>
              <a:latin typeface="Calibri" pitchFamily="34" charset="0"/>
            </a:endParaRPr>
          </a:p>
        </p:txBody>
      </p:sp>
      <p:sp>
        <p:nvSpPr>
          <p:cNvPr id="32775" name="Line 5"/>
          <p:cNvSpPr>
            <a:spLocks noChangeShapeType="1"/>
          </p:cNvSpPr>
          <p:nvPr/>
        </p:nvSpPr>
        <p:spPr bwMode="auto">
          <a:xfrm>
            <a:off x="611188" y="6207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390" tIns="45697" rIns="91390" bIns="45697" anchor="ctr"/>
          <a:lstStyle/>
          <a:p>
            <a:endParaRPr lang="es-E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ca-E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ca-ES" smtClean="0">
              <a:latin typeface="Helvetica Bold"/>
            </a:endParaRPr>
          </a:p>
        </p:txBody>
      </p:sp>
      <p:sp>
        <p:nvSpPr>
          <p:cNvPr id="72706" name="Rectangle 5"/>
          <p:cNvSpPr>
            <a:spLocks noChangeArrowheads="1"/>
          </p:cNvSpPr>
          <p:nvPr/>
        </p:nvSpPr>
        <p:spPr bwMode="auto">
          <a:xfrm>
            <a:off x="684213" y="1628775"/>
            <a:ext cx="7773987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306" tIns="52153" rIns="104306" bIns="52153"/>
          <a:lstStyle/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ca-ES" sz="3200">
              <a:latin typeface="Helvetica Bold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ca-ES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72707" name="Line 6"/>
          <p:cNvSpPr>
            <a:spLocks noChangeShapeType="1"/>
          </p:cNvSpPr>
          <p:nvPr/>
        </p:nvSpPr>
        <p:spPr bwMode="auto">
          <a:xfrm>
            <a:off x="611188" y="1052513"/>
            <a:ext cx="7697787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72708" name="Rectangle 7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72709" name="Rectangle 10"/>
          <p:cNvSpPr>
            <a:spLocks noChangeArrowheads="1"/>
          </p:cNvSpPr>
          <p:nvPr/>
        </p:nvSpPr>
        <p:spPr bwMode="auto">
          <a:xfrm>
            <a:off x="1042988" y="333375"/>
            <a:ext cx="7148512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/>
          <a:lstStyle/>
          <a:p>
            <a:pPr algn="ctr"/>
            <a:r>
              <a:rPr lang="ca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Recomanacions a partir de les experiències</a:t>
            </a:r>
          </a:p>
        </p:txBody>
      </p:sp>
      <p:sp>
        <p:nvSpPr>
          <p:cNvPr id="72710" name="2 Marcador de contenido"/>
          <p:cNvSpPr txBox="1">
            <a:spLocks/>
          </p:cNvSpPr>
          <p:nvPr/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al un acord i un mandat clar de suport a les activitats de CPI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Necessitat d’invertir en formació, sensibilització, costos de la corba d’aprenentatge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prenentatge conjunt, intercanvis d'experiències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Cooperació intersectorial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inançament adequat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mplicació dels sectors industrials i desenvolupament de models basats en l’usuari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Gestió del risc</a:t>
            </a:r>
          </a:p>
          <a:p>
            <a:pPr marL="342900" indent="-342900">
              <a:spcBef>
                <a:spcPct val="20000"/>
              </a:spcBef>
              <a:buFontTx/>
              <a:buChar char="•"/>
            </a:pPr>
            <a:endParaRPr lang="ca-ES" sz="16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Tx/>
              <a:buChar char="•"/>
            </a:pPr>
            <a:r>
              <a:rPr lang="ca-ES" sz="16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valuació i valoració dels impactes. Demostració de l’evidenc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  <a:p>
            <a:pPr eaLnBrk="1" hangingPunct="1">
              <a:buClr>
                <a:srgbClr val="CC0033"/>
              </a:buClr>
              <a:buFont typeface="Wingdings" pitchFamily="2" charset="2"/>
              <a:buChar char="§"/>
            </a:pPr>
            <a:endParaRPr lang="en-US" smtClean="0">
              <a:latin typeface="Helvetica Bold"/>
            </a:endParaRPr>
          </a:p>
        </p:txBody>
      </p:sp>
      <p:sp>
        <p:nvSpPr>
          <p:cNvPr id="74754" name="Rectangle 4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latin typeface="Helvetica Bold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n-US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74755" name="Rectangle 6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74756" name="2 CuadroTexto"/>
          <p:cNvSpPr txBox="1">
            <a:spLocks noChangeArrowheads="1"/>
          </p:cNvSpPr>
          <p:nvPr/>
        </p:nvSpPr>
        <p:spPr bwMode="auto">
          <a:xfrm>
            <a:off x="3216275" y="2178050"/>
            <a:ext cx="3168650" cy="169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pPr algn="ctr"/>
            <a:endParaRPr lang="ca-ES" sz="2800">
              <a:solidFill>
                <a:srgbClr val="003366"/>
              </a:solidFill>
              <a:latin typeface="Calibri" pitchFamily="34" charset="0"/>
            </a:endParaRPr>
          </a:p>
          <a:p>
            <a:pPr algn="ctr"/>
            <a:r>
              <a:rPr lang="ca-ES" sz="2800" i="1">
                <a:solidFill>
                  <a:srgbClr val="003366"/>
                </a:solidFill>
                <a:latin typeface="Calibri" pitchFamily="34" charset="0"/>
              </a:rPr>
              <a:t>That’s all folks  !</a:t>
            </a:r>
          </a:p>
          <a:p>
            <a:pPr algn="ctr"/>
            <a:endParaRPr lang="ca-ES" sz="2800">
              <a:solidFill>
                <a:srgbClr val="003366"/>
              </a:solidFill>
              <a:latin typeface="Calibri" pitchFamily="34" charset="0"/>
            </a:endParaRPr>
          </a:p>
          <a:p>
            <a:pPr algn="ctr"/>
            <a:r>
              <a:rPr lang="ca-ES" sz="2000">
                <a:solidFill>
                  <a:srgbClr val="003366"/>
                </a:solidFill>
                <a:latin typeface="Calibri" pitchFamily="34" charset="0"/>
              </a:rPr>
              <a:t>ramon.maspons@gencat.ca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Line 7"/>
          <p:cNvSpPr>
            <a:spLocks noChangeShapeType="1"/>
          </p:cNvSpPr>
          <p:nvPr/>
        </p:nvSpPr>
        <p:spPr bwMode="auto">
          <a:xfrm>
            <a:off x="1403350" y="823913"/>
            <a:ext cx="5616575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endParaRPr lang="es-ES"/>
          </a:p>
        </p:txBody>
      </p:sp>
      <p:pic>
        <p:nvPicPr>
          <p:cNvPr id="33794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5263" y="1665288"/>
            <a:ext cx="4591050" cy="300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5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99025" y="1730375"/>
            <a:ext cx="3984625" cy="294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796" name="7 Flecha derecha"/>
          <p:cNvSpPr>
            <a:spLocks noChangeArrowheads="1"/>
          </p:cNvSpPr>
          <p:nvPr/>
        </p:nvSpPr>
        <p:spPr bwMode="auto">
          <a:xfrm>
            <a:off x="4572000" y="2971800"/>
            <a:ext cx="195263" cy="19526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ca-ES" sz="1600">
              <a:solidFill>
                <a:schemeClr val="bg1"/>
              </a:solidFill>
              <a:ea typeface="Arial Unicode MS" pitchFamily="34" charset="-128"/>
            </a:endParaRPr>
          </a:p>
        </p:txBody>
      </p:sp>
      <p:sp>
        <p:nvSpPr>
          <p:cNvPr id="33797" name="8 Flecha derecha"/>
          <p:cNvSpPr>
            <a:spLocks noChangeArrowheads="1"/>
          </p:cNvSpPr>
          <p:nvPr/>
        </p:nvSpPr>
        <p:spPr bwMode="auto">
          <a:xfrm>
            <a:off x="4637088" y="4213225"/>
            <a:ext cx="196850" cy="195263"/>
          </a:xfrm>
          <a:prstGeom prst="rightArrow">
            <a:avLst>
              <a:gd name="adj1" fmla="val 50000"/>
              <a:gd name="adj2" fmla="val 50406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ca-ES" sz="1600">
              <a:solidFill>
                <a:schemeClr val="bg1"/>
              </a:solidFill>
              <a:ea typeface="Arial Unicode MS" pitchFamily="34" charset="-128"/>
            </a:endParaRPr>
          </a:p>
        </p:txBody>
      </p:sp>
      <p:sp>
        <p:nvSpPr>
          <p:cNvPr id="33798" name="9 Flecha derecha"/>
          <p:cNvSpPr>
            <a:spLocks noChangeArrowheads="1"/>
          </p:cNvSpPr>
          <p:nvPr/>
        </p:nvSpPr>
        <p:spPr bwMode="auto">
          <a:xfrm>
            <a:off x="4637088" y="4016375"/>
            <a:ext cx="196850" cy="1968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solidFill>
              <a:srgbClr val="C00000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pPr defTabSz="406400" hangingPunct="0">
              <a:lnSpc>
                <a:spcPct val="93000"/>
              </a:lnSpc>
              <a:buClr>
                <a:srgbClr val="000000"/>
              </a:buClr>
              <a:buSzPct val="100000"/>
            </a:pPr>
            <a:endParaRPr lang="ca-ES" sz="1600">
              <a:solidFill>
                <a:schemeClr val="bg1"/>
              </a:solidFill>
              <a:ea typeface="Arial Unicode MS" pitchFamily="34" charset="-128"/>
            </a:endParaRPr>
          </a:p>
        </p:txBody>
      </p:sp>
      <p:sp>
        <p:nvSpPr>
          <p:cNvPr id="33799" name="1 Rectángulo"/>
          <p:cNvSpPr>
            <a:spLocks noChangeArrowheads="1"/>
          </p:cNvSpPr>
          <p:nvPr/>
        </p:nvSpPr>
        <p:spPr bwMode="auto">
          <a:xfrm>
            <a:off x="2136775" y="188913"/>
            <a:ext cx="40560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Índex  Global de Competitivitat (IGC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Line 7"/>
          <p:cNvSpPr>
            <a:spLocks noChangeShapeType="1"/>
          </p:cNvSpPr>
          <p:nvPr/>
        </p:nvSpPr>
        <p:spPr bwMode="auto">
          <a:xfrm>
            <a:off x="1403350" y="823913"/>
            <a:ext cx="5616575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endParaRPr lang="es-ES"/>
          </a:p>
        </p:txBody>
      </p:sp>
      <p:sp>
        <p:nvSpPr>
          <p:cNvPr id="34818" name="1 Rectángulo"/>
          <p:cNvSpPr>
            <a:spLocks noChangeArrowheads="1"/>
          </p:cNvSpPr>
          <p:nvPr/>
        </p:nvSpPr>
        <p:spPr bwMode="auto">
          <a:xfrm>
            <a:off x="2136775" y="188913"/>
            <a:ext cx="41481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Índex  Global de Competitivitat (IGC)</a:t>
            </a:r>
          </a:p>
        </p:txBody>
      </p:sp>
      <p:pic>
        <p:nvPicPr>
          <p:cNvPr id="3481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2288" y="1011238"/>
            <a:ext cx="7800975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CuadroTexto"/>
          <p:cNvSpPr txBox="1"/>
          <p:nvPr/>
        </p:nvSpPr>
        <p:spPr>
          <a:xfrm>
            <a:off x="206375" y="5846763"/>
            <a:ext cx="8401050" cy="246062"/>
          </a:xfrm>
          <a:prstGeom prst="rect">
            <a:avLst/>
          </a:prstGeom>
          <a:noFill/>
        </p:spPr>
        <p:txBody>
          <a:bodyPr wrap="none" lIns="91430" tIns="45715" rIns="91430" bIns="45715">
            <a:spAutoFit/>
          </a:bodyPr>
          <a:lstStyle/>
          <a:p>
            <a:pPr defTabSz="91402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ca-ES" sz="1000" dirty="0">
                <a:solidFill>
                  <a:srgbClr val="003366"/>
                </a:solidFill>
                <a:latin typeface="+mj-lt"/>
              </a:rPr>
              <a:t>http://www.spanishreforms.com/documents/10180/64265/Spain_GlobalCompetitivenessReport_2014-15/88762cf4-29c1-49a8-80d9-7cbfcebbfe6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088" y="1357313"/>
            <a:ext cx="7680325" cy="520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2" name="Line 7"/>
          <p:cNvSpPr>
            <a:spLocks noChangeShapeType="1"/>
          </p:cNvSpPr>
          <p:nvPr/>
        </p:nvSpPr>
        <p:spPr bwMode="auto">
          <a:xfrm>
            <a:off x="1403350" y="823913"/>
            <a:ext cx="5616575" cy="0"/>
          </a:xfrm>
          <a:prstGeom prst="line">
            <a:avLst/>
          </a:prstGeom>
          <a:noFill/>
          <a:ln w="38100">
            <a:solidFill>
              <a:srgbClr val="9900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endParaRPr lang="es-ES"/>
          </a:p>
        </p:txBody>
      </p:sp>
      <p:sp>
        <p:nvSpPr>
          <p:cNvPr id="35843" name="1 Rectángulo"/>
          <p:cNvSpPr>
            <a:spLocks noChangeArrowheads="1"/>
          </p:cNvSpPr>
          <p:nvPr/>
        </p:nvSpPr>
        <p:spPr bwMode="auto">
          <a:xfrm>
            <a:off x="2136775" y="188913"/>
            <a:ext cx="41481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r>
              <a:rPr lang="es-ES" sz="2000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Índex  Global de Competitivitat (IGC)</a:t>
            </a:r>
          </a:p>
        </p:txBody>
      </p:sp>
      <p:pic>
        <p:nvPicPr>
          <p:cNvPr id="3584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02175" y="1470025"/>
            <a:ext cx="3854450" cy="470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1 CuadroTexto"/>
          <p:cNvSpPr txBox="1">
            <a:spLocks noChangeArrowheads="1"/>
          </p:cNvSpPr>
          <p:nvPr/>
        </p:nvSpPr>
        <p:spPr bwMode="auto">
          <a:xfrm>
            <a:off x="457200" y="1468438"/>
            <a:ext cx="3787775" cy="454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41473" rIns="82945" bIns="41473">
            <a:spAutoFit/>
          </a:bodyPr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ES" sz="2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«la innovación representa una nueva manera de hacer las cosas para mejorar la atención sanitaria y, dentro de una cadena causal,los resultados en salud o la eﬁciencia en su obtención»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n-US" sz="2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gency for Healthcare, Research and Quality (AHRQ), 2008</a:t>
            </a:r>
            <a:endParaRPr lang="ca-E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36866" name="Line 21"/>
          <p:cNvSpPr>
            <a:spLocks noChangeShapeType="1"/>
          </p:cNvSpPr>
          <p:nvPr/>
        </p:nvSpPr>
        <p:spPr bwMode="auto">
          <a:xfrm>
            <a:off x="612775" y="1052513"/>
            <a:ext cx="7696200" cy="1587"/>
          </a:xfrm>
          <a:prstGeom prst="line">
            <a:avLst/>
          </a:prstGeom>
          <a:noFill/>
          <a:ln w="28440">
            <a:solidFill>
              <a:srgbClr val="CC0033"/>
            </a:solidFill>
            <a:miter lim="800000"/>
            <a:headEnd/>
            <a:tailEnd/>
          </a:ln>
        </p:spPr>
        <p:txBody>
          <a:bodyPr lIns="82945" tIns="41473" rIns="82945" bIns="41473"/>
          <a:lstStyle/>
          <a:p>
            <a:endParaRPr lang="es-ES"/>
          </a:p>
        </p:txBody>
      </p:sp>
      <p:sp>
        <p:nvSpPr>
          <p:cNvPr id="36867" name="2 Marcador de contenido"/>
          <p:cNvSpPr txBox="1">
            <a:spLocks/>
          </p:cNvSpPr>
          <p:nvPr/>
        </p:nvSpPr>
        <p:spPr bwMode="auto">
          <a:xfrm>
            <a:off x="4964113" y="1404938"/>
            <a:ext cx="3698875" cy="398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41473" rIns="82945" bIns="41473"/>
          <a:lstStyle/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ES" sz="2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roceso, denota todo aquello que se realiza al dar o recibir asistencia sanitaria y puede incluir tanto los métodos de producción (innovación de proceso) y los productos utilizados como la organización del trabajo entre los diferentes profesionales que intervienen</a:t>
            </a:r>
          </a:p>
          <a:p>
            <a:pPr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s-E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algn="ct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ES" sz="2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Efectividad y eficacia</a:t>
            </a:r>
            <a:endParaRPr lang="en-US" sz="2400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36868" name="1 Rectángulo"/>
          <p:cNvSpPr>
            <a:spLocks noChangeArrowheads="1"/>
          </p:cNvSpPr>
          <p:nvPr/>
        </p:nvSpPr>
        <p:spPr bwMode="auto">
          <a:xfrm>
            <a:off x="6907213" y="5845175"/>
            <a:ext cx="203200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2945" tIns="41473" rIns="82945" bIns="41473">
            <a:spAutoFit/>
          </a:bodyPr>
          <a:lstStyle/>
          <a:p>
            <a:pPr algn="r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ES" sz="11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vedis-Donabedian, JAMA, 1988</a:t>
            </a:r>
          </a:p>
        </p:txBody>
      </p:sp>
      <p:sp>
        <p:nvSpPr>
          <p:cNvPr id="36869" name="Rectangle 7"/>
          <p:cNvSpPr>
            <a:spLocks noChangeArrowheads="1"/>
          </p:cNvSpPr>
          <p:nvPr/>
        </p:nvSpPr>
        <p:spPr bwMode="auto">
          <a:xfrm>
            <a:off x="914400" y="477838"/>
            <a:ext cx="690721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 algn="ctr"/>
            <a:r>
              <a:rPr lang="ca-ES" b="1" i="1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La innovació : Algunas definicions (III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2514600"/>
            <a:ext cx="7772400" cy="4114800"/>
          </a:xfrm>
        </p:spPr>
        <p:txBody>
          <a:bodyPr/>
          <a:lstStyle/>
          <a:p>
            <a:pPr>
              <a:buClr>
                <a:srgbClr val="CC0033"/>
              </a:buClr>
              <a:buFont typeface="Wingdings" pitchFamily="2" charset="2"/>
              <a:buChar char="§"/>
            </a:pPr>
            <a:endParaRPr lang="es-ES_tradnl" smtClean="0">
              <a:latin typeface="Helvetica Bold"/>
            </a:endParaRPr>
          </a:p>
          <a:p>
            <a:pPr>
              <a:buClr>
                <a:srgbClr val="CC0033"/>
              </a:buClr>
              <a:buFont typeface="Wingdings" pitchFamily="2" charset="2"/>
              <a:buChar char="§"/>
            </a:pPr>
            <a:endParaRPr lang="es-ES_tradnl" smtClean="0">
              <a:latin typeface="Helvetica Bold"/>
            </a:endParaRPr>
          </a:p>
        </p:txBody>
      </p:sp>
      <p:sp>
        <p:nvSpPr>
          <p:cNvPr id="37890" name="Rectangle 5"/>
          <p:cNvSpPr>
            <a:spLocks noChangeArrowheads="1"/>
          </p:cNvSpPr>
          <p:nvPr/>
        </p:nvSpPr>
        <p:spPr bwMode="auto">
          <a:xfrm>
            <a:off x="685800" y="1962150"/>
            <a:ext cx="7773988" cy="48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296" tIns="52147" rIns="104296" bIns="52147"/>
          <a:lstStyle/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  <a:p>
            <a:pPr marL="341313" indent="-341313">
              <a:spcBef>
                <a:spcPct val="20000"/>
              </a:spcBef>
              <a:buClr>
                <a:srgbClr val="CC0033"/>
              </a:buClr>
              <a:buFont typeface="Wingdings" pitchFamily="2" charset="2"/>
              <a:buChar char="§"/>
            </a:pPr>
            <a:endParaRPr lang="es-ES_tradnl" sz="3200">
              <a:latin typeface="Helvetica Bold"/>
              <a:ea typeface="Arial Unicode MS" pitchFamily="34" charset="-128"/>
            </a:endParaRPr>
          </a:p>
        </p:txBody>
      </p:sp>
      <p:sp>
        <p:nvSpPr>
          <p:cNvPr id="37891" name="Line 6"/>
          <p:cNvSpPr>
            <a:spLocks noChangeShapeType="1"/>
          </p:cNvSpPr>
          <p:nvPr/>
        </p:nvSpPr>
        <p:spPr bwMode="auto">
          <a:xfrm>
            <a:off x="539750" y="836613"/>
            <a:ext cx="7697788" cy="0"/>
          </a:xfrm>
          <a:prstGeom prst="line">
            <a:avLst/>
          </a:prstGeom>
          <a:noFill/>
          <a:ln w="28575">
            <a:solidFill>
              <a:srgbClr val="CC0033"/>
            </a:solidFill>
            <a:round/>
            <a:headEnd/>
            <a:tailEnd/>
          </a:ln>
        </p:spPr>
        <p:txBody>
          <a:bodyPr wrap="none" lIns="91430" tIns="45715" rIns="91430" bIns="45715" anchor="ctr"/>
          <a:lstStyle/>
          <a:p>
            <a:endParaRPr lang="es-ES"/>
          </a:p>
        </p:txBody>
      </p:sp>
      <p:sp>
        <p:nvSpPr>
          <p:cNvPr id="37892" name="Rectangle 7"/>
          <p:cNvSpPr>
            <a:spLocks noChangeArrowheads="1"/>
          </p:cNvSpPr>
          <p:nvPr/>
        </p:nvSpPr>
        <p:spPr bwMode="auto">
          <a:xfrm>
            <a:off x="2819400" y="1295400"/>
            <a:ext cx="3962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5" rIns="91430" bIns="45715" anchor="ctr"/>
          <a:lstStyle/>
          <a:p>
            <a:endParaRPr lang="ca-ES">
              <a:ea typeface="Arial Unicode MS" pitchFamily="34" charset="-128"/>
            </a:endParaRPr>
          </a:p>
        </p:txBody>
      </p:sp>
      <p:sp>
        <p:nvSpPr>
          <p:cNvPr id="37893" name="Rectangle 8"/>
          <p:cNvSpPr>
            <a:spLocks noChangeArrowheads="1"/>
          </p:cNvSpPr>
          <p:nvPr/>
        </p:nvSpPr>
        <p:spPr bwMode="auto">
          <a:xfrm>
            <a:off x="395288" y="13287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marL="341313" indent="-341313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Hospital com funcions de producció</a:t>
            </a:r>
          </a:p>
          <a:p>
            <a:pPr marL="341313" indent="-341313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Hospital com un conjunt de capacitats tecnològiques i biofarmacològiques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biomèdiques o biofarmacològiques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mèdiques tangibles (tècnica,..)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mèdiques intangibles (protocols, estratègies terapèutiques,…)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Hospital com a sistemes d’informació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TICs aplicades a la gestió i administració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TICs aplicades a la prestació de serveis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 </a:t>
            </a:r>
          </a:p>
          <a:p>
            <a:pPr marL="341313" indent="-341313">
              <a:lnSpc>
                <a:spcPct val="80000"/>
              </a:lnSpc>
              <a:spcBef>
                <a:spcPct val="20000"/>
              </a:spcBef>
              <a:buFontTx/>
              <a:buChar char="•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Hospital com a proveïdor de serveis i hub  de serveis assistencials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Actors innovadors 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uncions de suport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Pacient + consumidor d’un conjunt de serveis complexes</a:t>
            </a:r>
          </a:p>
          <a:p>
            <a:pPr marL="741363" lvl="1" indent="-284163">
              <a:lnSpc>
                <a:spcPct val="80000"/>
              </a:lnSpc>
              <a:spcBef>
                <a:spcPct val="20000"/>
              </a:spcBef>
              <a:buFontTx/>
              <a:buChar char="–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>
              <a:lnSpc>
                <a:spcPct val="80000"/>
              </a:lnSpc>
              <a:spcBef>
                <a:spcPct val="20000"/>
              </a:spcBef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ont: Djellal,F; Gallouj,F (2007)</a:t>
            </a:r>
          </a:p>
          <a:p>
            <a:pPr marL="341313" indent="-341313">
              <a:lnSpc>
                <a:spcPct val="80000"/>
              </a:lnSpc>
              <a:spcBef>
                <a:spcPct val="20000"/>
              </a:spcBef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37894" name="Rectangle 1"/>
          <p:cNvSpPr txBox="1">
            <a:spLocks noChangeArrowheads="1"/>
          </p:cNvSpPr>
          <p:nvPr/>
        </p:nvSpPr>
        <p:spPr bwMode="auto">
          <a:xfrm>
            <a:off x="458788" y="0"/>
            <a:ext cx="8228012" cy="106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35268" rIns="82945" bIns="41473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_tradnl" b="1" i="1">
              <a:solidFill>
                <a:srgbClr val="004586"/>
              </a:solidFill>
              <a:latin typeface="Calibri" pitchFamily="34" charset="0"/>
              <a:ea typeface="Arial Unicode MS" pitchFamily="34" charset="-128"/>
            </a:endParaRPr>
          </a:p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_tradnl" b="1" i="1">
                <a:solidFill>
                  <a:srgbClr val="004586"/>
                </a:solidFill>
                <a:latin typeface="Calibri" pitchFamily="34" charset="0"/>
                <a:ea typeface="Arial Unicode MS" pitchFamily="34" charset="-128"/>
              </a:rPr>
              <a:t>Algunes respostes des dels hospitals (I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4"/>
          <p:cNvSpPr>
            <a:spLocks noChangeArrowheads="1"/>
          </p:cNvSpPr>
          <p:nvPr/>
        </p:nvSpPr>
        <p:spPr bwMode="auto">
          <a:xfrm>
            <a:off x="395288" y="17732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/>
          <a:lstStyle/>
          <a:p>
            <a:pPr marL="741363" lvl="1" indent="-284163" algn="ctr" eaLnBrk="0">
              <a:lnSpc>
                <a:spcPct val="80000"/>
              </a:lnSpc>
              <a:spcBef>
                <a:spcPct val="20000"/>
              </a:spcBef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Hospital com   proveïdor de serveis  i de serveis assistencials complexes</a:t>
            </a: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tecnològiques </a:t>
            </a: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de servei</a:t>
            </a: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organitzacionals</a:t>
            </a: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r>
              <a:rPr lang="ca-ES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Innovacions socials  culturals 	</a:t>
            </a:r>
          </a:p>
          <a:p>
            <a:pPr marL="741363" lvl="1" indent="-284163" eaLnBrk="0">
              <a:lnSpc>
                <a:spcPct val="80000"/>
              </a:lnSpc>
              <a:spcBef>
                <a:spcPct val="20000"/>
              </a:spcBef>
              <a:buFont typeface="Wingdings" pitchFamily="2" charset="2"/>
              <a:buChar char="§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741363" lvl="1" indent="-284163" algn="ctr" eaLnBrk="0">
              <a:lnSpc>
                <a:spcPct val="80000"/>
              </a:lnSpc>
              <a:spcBef>
                <a:spcPct val="20000"/>
              </a:spcBef>
            </a:pPr>
            <a:r>
              <a:rPr lang="ca-ES" sz="24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Medical innovation.vs. Hospital innovation</a:t>
            </a:r>
          </a:p>
          <a:p>
            <a:pPr marL="341313" indent="-341313" eaLnBrk="0">
              <a:lnSpc>
                <a:spcPct val="80000"/>
              </a:lnSpc>
              <a:spcBef>
                <a:spcPct val="20000"/>
              </a:spcBef>
              <a:buFont typeface="Arial" charset="0"/>
              <a:buChar char="•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 eaLnBrk="0">
              <a:lnSpc>
                <a:spcPct val="80000"/>
              </a:lnSpc>
              <a:spcBef>
                <a:spcPct val="20000"/>
              </a:spcBef>
              <a:buFont typeface="Arial" charset="0"/>
              <a:buChar char="•"/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  <a:p>
            <a:pPr marL="341313" indent="-341313" eaLnBrk="0">
              <a:lnSpc>
                <a:spcPct val="80000"/>
              </a:lnSpc>
              <a:spcBef>
                <a:spcPct val="20000"/>
              </a:spcBef>
            </a:pPr>
            <a:r>
              <a:rPr lang="ca-ES" sz="1200">
                <a:solidFill>
                  <a:srgbClr val="003366"/>
                </a:solidFill>
                <a:latin typeface="Calibri" pitchFamily="34" charset="0"/>
                <a:ea typeface="Arial Unicode MS" pitchFamily="34" charset="-128"/>
              </a:rPr>
              <a:t>Font: Touzet,A; Souffir,W(1996)</a:t>
            </a:r>
          </a:p>
          <a:p>
            <a:pPr marL="341313" indent="-341313" eaLnBrk="0">
              <a:lnSpc>
                <a:spcPct val="80000"/>
              </a:lnSpc>
              <a:spcBef>
                <a:spcPct val="20000"/>
              </a:spcBef>
            </a:pPr>
            <a:endParaRPr lang="ca-ES">
              <a:solidFill>
                <a:srgbClr val="003366"/>
              </a:solidFill>
              <a:latin typeface="Calibri" pitchFamily="34" charset="0"/>
              <a:ea typeface="Arial Unicode MS" pitchFamily="34" charset="-128"/>
            </a:endParaRPr>
          </a:p>
        </p:txBody>
      </p:sp>
      <p:sp>
        <p:nvSpPr>
          <p:cNvPr id="39938" name="Rectangle 1"/>
          <p:cNvSpPr txBox="1">
            <a:spLocks noChangeArrowheads="1"/>
          </p:cNvSpPr>
          <p:nvPr/>
        </p:nvSpPr>
        <p:spPr bwMode="auto">
          <a:xfrm>
            <a:off x="428625" y="0"/>
            <a:ext cx="8228013" cy="1063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45" tIns="35268" rIns="82945" bIns="41473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s-ES_tradnl" b="1" i="1">
              <a:solidFill>
                <a:srgbClr val="004586"/>
              </a:solidFill>
              <a:latin typeface="Calibri" pitchFamily="34" charset="0"/>
              <a:ea typeface="Arial Unicode MS" pitchFamily="34" charset="-128"/>
            </a:endParaRPr>
          </a:p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ES_tradnl" b="1" i="1">
                <a:solidFill>
                  <a:srgbClr val="004586"/>
                </a:solidFill>
                <a:latin typeface="Calibri" pitchFamily="34" charset="0"/>
                <a:ea typeface="Arial Unicode MS" pitchFamily="34" charset="-128"/>
              </a:rPr>
              <a:t>Algunes respostes des dels hospitals (II)</a:t>
            </a:r>
          </a:p>
        </p:txBody>
      </p:sp>
      <p:sp>
        <p:nvSpPr>
          <p:cNvPr id="39939" name="Line 7"/>
          <p:cNvSpPr>
            <a:spLocks noChangeShapeType="1"/>
          </p:cNvSpPr>
          <p:nvPr/>
        </p:nvSpPr>
        <p:spPr bwMode="auto">
          <a:xfrm>
            <a:off x="1835150" y="836613"/>
            <a:ext cx="5616575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endParaRPr lang="es-E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YNf6sZs02ZgupMMKg4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YNf6sZs02ZgupMMKg4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_itAIuR0uZ3c2umt0Ss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ma de Office">
  <a:themeElements>
    <a:clrScheme name="Tema de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e Offic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Arial Unicode MS" charset="0"/>
          </a:defRPr>
        </a:defPPr>
      </a:lstStyle>
    </a:lnDef>
  </a:objectDefaults>
  <a:extraClrSchemeLst>
    <a:extraClrScheme>
      <a:clrScheme name="Tema de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e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e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5</TotalTime>
  <Words>1712</Words>
  <Application>Microsoft Office PowerPoint</Application>
  <PresentationFormat>Presentación en pantalla (4:3)</PresentationFormat>
  <Paragraphs>312</Paragraphs>
  <Slides>31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Plantilla de diseño</vt:lpstr>
      </vt:variant>
      <vt:variant>
        <vt:i4>1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1</vt:i4>
      </vt:variant>
    </vt:vector>
  </HeadingPairs>
  <TitlesOfParts>
    <vt:vector size="57" baseType="lpstr">
      <vt:lpstr>Calibri</vt:lpstr>
      <vt:lpstr>Arial</vt:lpstr>
      <vt:lpstr>Arial Unicode MS</vt:lpstr>
      <vt:lpstr>Times New Roman</vt:lpstr>
      <vt:lpstr>Helvetica Bold</vt:lpstr>
      <vt:lpstr>Wingdings</vt:lpstr>
      <vt:lpstr>ＭＳ Ｐゴシック</vt:lpstr>
      <vt:lpstr>Verdana</vt:lpstr>
      <vt:lpstr>Times</vt:lpstr>
      <vt:lpstr>Tema de Office</vt:lpstr>
      <vt:lpstr>2_Tema de Office</vt:lpstr>
      <vt:lpstr>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2_Tema de Office</vt:lpstr>
      <vt:lpstr>think-cell Slide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Integración de fuentes de información 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Diapositiva 21</vt:lpstr>
      <vt:lpstr>Diapositiva 22</vt:lpstr>
      <vt:lpstr>Diapositiva 23</vt:lpstr>
      <vt:lpstr>Diapositiva 24</vt:lpstr>
      <vt:lpstr>Diapositiva 25</vt:lpstr>
      <vt:lpstr>Diapositiva 26</vt:lpstr>
      <vt:lpstr>Diapositiva 27</vt:lpstr>
      <vt:lpstr>Diapositiva 28</vt:lpstr>
      <vt:lpstr>Diapositiva 29</vt:lpstr>
      <vt:lpstr>Diapositiva 30</vt:lpstr>
      <vt:lpstr>Diapositiva 3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çament als poders adjudicadors per a  realitzar CPI i experiències de CPI en l’àmbit sanitari i social</dc:title>
  <dc:creator>Ramon Maspons</dc:creator>
  <cp:lastModifiedBy>sestudillo</cp:lastModifiedBy>
  <cp:revision>30</cp:revision>
  <dcterms:created xsi:type="dcterms:W3CDTF">2016-05-18T20:57:13Z</dcterms:created>
  <dcterms:modified xsi:type="dcterms:W3CDTF">2016-06-06T15:33:14Z</dcterms:modified>
</cp:coreProperties>
</file>